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0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9C3047-F1FA-4225-9466-C3740F7C0A6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BCB660-FD01-49F4-9811-C8A74567599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3921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5535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2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20722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02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46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7191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37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649023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6F0445C-2CC1-6756-AA8F-63DFFE2FB2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F0445C-2CC1-6756-AA8F-63DFFE2FB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27AAE24-D74D-7A0D-74D9-9D500105743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B1669B-AAF3-5CE3-B618-F032F0F5341A}"/>
              </a:ext>
            </a:extLst>
          </p:cNvPr>
          <p:cNvGrpSpPr/>
          <p:nvPr/>
        </p:nvGrpSpPr>
        <p:grpSpPr>
          <a:xfrm>
            <a:off x="4617873" y="1558404"/>
            <a:ext cx="2956751" cy="4499354"/>
            <a:chOff x="4617873" y="1558404"/>
            <a:chExt cx="2956751" cy="4499354"/>
          </a:xfrm>
        </p:grpSpPr>
        <p:sp>
          <p:nvSpPr>
            <p:cNvPr id="235" name="Free-form: Shape 234">
              <a:extLst>
                <a:ext uri="{FF2B5EF4-FFF2-40B4-BE49-F238E27FC236}">
                  <a16:creationId xmlns:a16="http://schemas.microsoft.com/office/drawing/2014/main" id="{54B8CD43-54CB-DA55-23B0-BA5CA7DB7DAD}"/>
                </a:ext>
              </a:extLst>
            </p:cNvPr>
            <p:cNvSpPr/>
            <p:nvPr/>
          </p:nvSpPr>
          <p:spPr>
            <a:xfrm>
              <a:off x="5755116" y="5046055"/>
              <a:ext cx="49207" cy="50023"/>
            </a:xfrm>
            <a:custGeom>
              <a:avLst/>
              <a:gdLst>
                <a:gd name="connsiteX0" fmla="*/ 19043 w 49207"/>
                <a:gd name="connsiteY0" fmla="*/ 44337 h 50023"/>
                <a:gd name="connsiteX1" fmla="*/ 18833 w 49207"/>
                <a:gd name="connsiteY1" fmla="*/ 47552 h 50023"/>
                <a:gd name="connsiteX2" fmla="*/ 49057 w 49207"/>
                <a:gd name="connsiteY2" fmla="*/ 50023 h 50023"/>
                <a:gd name="connsiteX3" fmla="*/ 46763 w 49207"/>
                <a:gd name="connsiteY3" fmla="*/ 44143 h 50023"/>
                <a:gd name="connsiteX4" fmla="*/ 42596 w 49207"/>
                <a:gd name="connsiteY4" fmla="*/ 41042 h 50023"/>
                <a:gd name="connsiteX5" fmla="*/ 38137 w 49207"/>
                <a:gd name="connsiteY5" fmla="*/ 37762 h 50023"/>
                <a:gd name="connsiteX6" fmla="*/ 28251 w 49207"/>
                <a:gd name="connsiteY6" fmla="*/ 18377 h 50023"/>
                <a:gd name="connsiteX7" fmla="*/ 23130 w 49207"/>
                <a:gd name="connsiteY7" fmla="*/ 5147 h 50023"/>
                <a:gd name="connsiteX8" fmla="*/ 16458 w 49207"/>
                <a:gd name="connsiteY8" fmla="*/ 26 h 50023"/>
                <a:gd name="connsiteX9" fmla="*/ 7283 w 49207"/>
                <a:gd name="connsiteY9" fmla="*/ 6132 h 50023"/>
                <a:gd name="connsiteX10" fmla="*/ 1160 w 49207"/>
                <a:gd name="connsiteY10" fmla="*/ 17957 h 50023"/>
                <a:gd name="connsiteX11" fmla="*/ 239 w 49207"/>
                <a:gd name="connsiteY11" fmla="*/ 25550 h 50023"/>
                <a:gd name="connsiteX12" fmla="*/ 5360 w 49207"/>
                <a:gd name="connsiteY12" fmla="*/ 31478 h 50023"/>
                <a:gd name="connsiteX13" fmla="*/ 10077 w 49207"/>
                <a:gd name="connsiteY13" fmla="*/ 33352 h 50023"/>
                <a:gd name="connsiteX14" fmla="*/ 17282 w 49207"/>
                <a:gd name="connsiteY14" fmla="*/ 36632 h 50023"/>
                <a:gd name="connsiteX15" fmla="*/ 19059 w 49207"/>
                <a:gd name="connsiteY15" fmla="*/ 44353 h 50023"/>
                <a:gd name="connsiteX16" fmla="*/ 19043 w 49207"/>
                <a:gd name="connsiteY16" fmla="*/ 44337 h 5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207" h="50023">
                  <a:moveTo>
                    <a:pt x="19043" y="44337"/>
                  </a:moveTo>
                  <a:cubicBezTo>
                    <a:pt x="18914" y="45258"/>
                    <a:pt x="18687" y="46809"/>
                    <a:pt x="18833" y="47552"/>
                  </a:cubicBezTo>
                  <a:cubicBezTo>
                    <a:pt x="28929" y="47600"/>
                    <a:pt x="39090" y="48424"/>
                    <a:pt x="49057" y="50023"/>
                  </a:cubicBezTo>
                  <a:cubicBezTo>
                    <a:pt x="49655" y="48133"/>
                    <a:pt x="48379" y="45662"/>
                    <a:pt x="46763" y="44143"/>
                  </a:cubicBezTo>
                  <a:cubicBezTo>
                    <a:pt x="45568" y="43012"/>
                    <a:pt x="44114" y="42043"/>
                    <a:pt x="42596" y="41042"/>
                  </a:cubicBezTo>
                  <a:cubicBezTo>
                    <a:pt x="41110" y="40056"/>
                    <a:pt x="39559" y="39039"/>
                    <a:pt x="38137" y="37762"/>
                  </a:cubicBezTo>
                  <a:cubicBezTo>
                    <a:pt x="32354" y="32642"/>
                    <a:pt x="30270" y="25388"/>
                    <a:pt x="28251" y="18377"/>
                  </a:cubicBezTo>
                  <a:cubicBezTo>
                    <a:pt x="26861" y="13547"/>
                    <a:pt x="25553" y="8992"/>
                    <a:pt x="23130" y="5147"/>
                  </a:cubicBezTo>
                  <a:cubicBezTo>
                    <a:pt x="22225" y="3709"/>
                    <a:pt x="19754" y="317"/>
                    <a:pt x="16458" y="26"/>
                  </a:cubicBezTo>
                  <a:cubicBezTo>
                    <a:pt x="12549" y="-362"/>
                    <a:pt x="9027" y="3693"/>
                    <a:pt x="7283" y="6132"/>
                  </a:cubicBezTo>
                  <a:cubicBezTo>
                    <a:pt x="4682" y="9751"/>
                    <a:pt x="2614" y="13741"/>
                    <a:pt x="1160" y="17957"/>
                  </a:cubicBezTo>
                  <a:cubicBezTo>
                    <a:pt x="13" y="21253"/>
                    <a:pt x="-261" y="23595"/>
                    <a:pt x="239" y="25550"/>
                  </a:cubicBezTo>
                  <a:cubicBezTo>
                    <a:pt x="821" y="27811"/>
                    <a:pt x="2679" y="29960"/>
                    <a:pt x="5360" y="31478"/>
                  </a:cubicBezTo>
                  <a:cubicBezTo>
                    <a:pt x="6782" y="32286"/>
                    <a:pt x="8381" y="32803"/>
                    <a:pt x="10077" y="33352"/>
                  </a:cubicBezTo>
                  <a:cubicBezTo>
                    <a:pt x="12484" y="34128"/>
                    <a:pt x="14956" y="34935"/>
                    <a:pt x="17282" y="36632"/>
                  </a:cubicBezTo>
                  <a:cubicBezTo>
                    <a:pt x="19899" y="38554"/>
                    <a:pt x="19414" y="41898"/>
                    <a:pt x="19059" y="44353"/>
                  </a:cubicBezTo>
                  <a:lnTo>
                    <a:pt x="19043" y="4433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6" name="Free-form: Shape 235">
              <a:extLst>
                <a:ext uri="{FF2B5EF4-FFF2-40B4-BE49-F238E27FC236}">
                  <a16:creationId xmlns:a16="http://schemas.microsoft.com/office/drawing/2014/main" id="{F717F3F9-8EF0-DFAC-A7B8-047920DC1211}"/>
                </a:ext>
              </a:extLst>
            </p:cNvPr>
            <p:cNvSpPr/>
            <p:nvPr/>
          </p:nvSpPr>
          <p:spPr>
            <a:xfrm>
              <a:off x="5400447" y="2286488"/>
              <a:ext cx="9755" cy="10317"/>
            </a:xfrm>
            <a:custGeom>
              <a:avLst/>
              <a:gdLst>
                <a:gd name="connsiteX0" fmla="*/ 7770 w 9755"/>
                <a:gd name="connsiteY0" fmla="*/ 10274 h 10317"/>
                <a:gd name="connsiteX1" fmla="*/ 9741 w 9755"/>
                <a:gd name="connsiteY1" fmla="*/ 6752 h 10317"/>
                <a:gd name="connsiteX2" fmla="*/ 6526 w 9755"/>
                <a:gd name="connsiteY2" fmla="*/ 1583 h 10317"/>
                <a:gd name="connsiteX3" fmla="*/ 452 w 9755"/>
                <a:gd name="connsiteY3" fmla="*/ 81 h 10317"/>
                <a:gd name="connsiteX4" fmla="*/ 0 w 9755"/>
                <a:gd name="connsiteY4" fmla="*/ 0 h 10317"/>
                <a:gd name="connsiteX5" fmla="*/ 3667 w 9755"/>
                <a:gd name="connsiteY5" fmla="*/ 8416 h 10317"/>
                <a:gd name="connsiteX6" fmla="*/ 7770 w 9755"/>
                <a:gd name="connsiteY6" fmla="*/ 10258 h 10317"/>
                <a:gd name="connsiteX7" fmla="*/ 7770 w 9755"/>
                <a:gd name="connsiteY7" fmla="*/ 10274 h 1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5" h="10317">
                  <a:moveTo>
                    <a:pt x="7770" y="10274"/>
                  </a:moveTo>
                  <a:cubicBezTo>
                    <a:pt x="8949" y="9983"/>
                    <a:pt x="9886" y="8303"/>
                    <a:pt x="9741" y="6752"/>
                  </a:cubicBezTo>
                  <a:cubicBezTo>
                    <a:pt x="9531" y="4410"/>
                    <a:pt x="7641" y="2504"/>
                    <a:pt x="6526" y="1583"/>
                  </a:cubicBezTo>
                  <a:cubicBezTo>
                    <a:pt x="5751" y="1082"/>
                    <a:pt x="2165" y="404"/>
                    <a:pt x="452" y="81"/>
                  </a:cubicBezTo>
                  <a:cubicBezTo>
                    <a:pt x="307" y="48"/>
                    <a:pt x="145" y="16"/>
                    <a:pt x="0" y="0"/>
                  </a:cubicBezTo>
                  <a:cubicBezTo>
                    <a:pt x="162" y="3118"/>
                    <a:pt x="1486" y="6219"/>
                    <a:pt x="3667" y="8416"/>
                  </a:cubicBezTo>
                  <a:cubicBezTo>
                    <a:pt x="4766" y="9531"/>
                    <a:pt x="6429" y="10581"/>
                    <a:pt x="7770" y="10258"/>
                  </a:cubicBezTo>
                  <a:lnTo>
                    <a:pt x="7770" y="1027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7" name="Free-form: Shape 236">
              <a:extLst>
                <a:ext uri="{FF2B5EF4-FFF2-40B4-BE49-F238E27FC236}">
                  <a16:creationId xmlns:a16="http://schemas.microsoft.com/office/drawing/2014/main" id="{E7D86F38-B348-C6F5-6D31-1119C892B889}"/>
                </a:ext>
              </a:extLst>
            </p:cNvPr>
            <p:cNvSpPr/>
            <p:nvPr/>
          </p:nvSpPr>
          <p:spPr>
            <a:xfrm>
              <a:off x="5696154" y="5132021"/>
              <a:ext cx="41871" cy="34568"/>
            </a:xfrm>
            <a:custGeom>
              <a:avLst/>
              <a:gdLst>
                <a:gd name="connsiteX0" fmla="*/ 33419 w 41871"/>
                <a:gd name="connsiteY0" fmla="*/ 4297 h 34568"/>
                <a:gd name="connsiteX1" fmla="*/ 9786 w 41871"/>
                <a:gd name="connsiteY1" fmla="*/ 0 h 34568"/>
                <a:gd name="connsiteX2" fmla="*/ 8364 w 41871"/>
                <a:gd name="connsiteY2" fmla="*/ 0 h 34568"/>
                <a:gd name="connsiteX3" fmla="*/ 3825 w 41871"/>
                <a:gd name="connsiteY3" fmla="*/ 727 h 34568"/>
                <a:gd name="connsiteX4" fmla="*/ 12 w 41871"/>
                <a:gd name="connsiteY4" fmla="*/ 8529 h 34568"/>
                <a:gd name="connsiteX5" fmla="*/ 3728 w 41871"/>
                <a:gd name="connsiteY5" fmla="*/ 19320 h 34568"/>
                <a:gd name="connsiteX6" fmla="*/ 3970 w 41871"/>
                <a:gd name="connsiteY6" fmla="*/ 19999 h 34568"/>
                <a:gd name="connsiteX7" fmla="*/ 10706 w 41871"/>
                <a:gd name="connsiteY7" fmla="*/ 32567 h 34568"/>
                <a:gd name="connsiteX8" fmla="*/ 14228 w 41871"/>
                <a:gd name="connsiteY8" fmla="*/ 34538 h 34568"/>
                <a:gd name="connsiteX9" fmla="*/ 16894 w 41871"/>
                <a:gd name="connsiteY9" fmla="*/ 31404 h 34568"/>
                <a:gd name="connsiteX10" fmla="*/ 17233 w 41871"/>
                <a:gd name="connsiteY10" fmla="*/ 25798 h 34568"/>
                <a:gd name="connsiteX11" fmla="*/ 17200 w 41871"/>
                <a:gd name="connsiteY11" fmla="*/ 24732 h 34568"/>
                <a:gd name="connsiteX12" fmla="*/ 18024 w 41871"/>
                <a:gd name="connsiteY12" fmla="*/ 20564 h 34568"/>
                <a:gd name="connsiteX13" fmla="*/ 22677 w 41871"/>
                <a:gd name="connsiteY13" fmla="*/ 17382 h 34568"/>
                <a:gd name="connsiteX14" fmla="*/ 30996 w 41871"/>
                <a:gd name="connsiteY14" fmla="*/ 16865 h 34568"/>
                <a:gd name="connsiteX15" fmla="*/ 34695 w 41871"/>
                <a:gd name="connsiteY15" fmla="*/ 16930 h 34568"/>
                <a:gd name="connsiteX16" fmla="*/ 41626 w 41871"/>
                <a:gd name="connsiteY16" fmla="*/ 13602 h 34568"/>
                <a:gd name="connsiteX17" fmla="*/ 40139 w 41871"/>
                <a:gd name="connsiteY17" fmla="*/ 8206 h 34568"/>
                <a:gd name="connsiteX18" fmla="*/ 33435 w 41871"/>
                <a:gd name="connsiteY18" fmla="*/ 4297 h 34568"/>
                <a:gd name="connsiteX19" fmla="*/ 33419 w 41871"/>
                <a:gd name="connsiteY19" fmla="*/ 4297 h 3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871" h="34568">
                  <a:moveTo>
                    <a:pt x="33419" y="4297"/>
                  </a:moveTo>
                  <a:cubicBezTo>
                    <a:pt x="25940" y="1486"/>
                    <a:pt x="17798" y="0"/>
                    <a:pt x="9786" y="0"/>
                  </a:cubicBezTo>
                  <a:cubicBezTo>
                    <a:pt x="9317" y="0"/>
                    <a:pt x="8833" y="0"/>
                    <a:pt x="8364" y="0"/>
                  </a:cubicBezTo>
                  <a:cubicBezTo>
                    <a:pt x="6862" y="32"/>
                    <a:pt x="5133" y="113"/>
                    <a:pt x="3825" y="727"/>
                  </a:cubicBezTo>
                  <a:cubicBezTo>
                    <a:pt x="998" y="2019"/>
                    <a:pt x="-133" y="5670"/>
                    <a:pt x="12" y="8529"/>
                  </a:cubicBezTo>
                  <a:cubicBezTo>
                    <a:pt x="190" y="12051"/>
                    <a:pt x="1805" y="15492"/>
                    <a:pt x="3728" y="19320"/>
                  </a:cubicBezTo>
                  <a:cubicBezTo>
                    <a:pt x="3841" y="19530"/>
                    <a:pt x="3922" y="19757"/>
                    <a:pt x="3970" y="19999"/>
                  </a:cubicBezTo>
                  <a:cubicBezTo>
                    <a:pt x="4374" y="21792"/>
                    <a:pt x="9156" y="30321"/>
                    <a:pt x="10706" y="32567"/>
                  </a:cubicBezTo>
                  <a:cubicBezTo>
                    <a:pt x="11498" y="33714"/>
                    <a:pt x="12968" y="34764"/>
                    <a:pt x="14228" y="34538"/>
                  </a:cubicBezTo>
                  <a:cubicBezTo>
                    <a:pt x="15359" y="34328"/>
                    <a:pt x="16457" y="33035"/>
                    <a:pt x="16894" y="31404"/>
                  </a:cubicBezTo>
                  <a:cubicBezTo>
                    <a:pt x="17362" y="29740"/>
                    <a:pt x="17297" y="27817"/>
                    <a:pt x="17233" y="25798"/>
                  </a:cubicBezTo>
                  <a:lnTo>
                    <a:pt x="17200" y="24732"/>
                  </a:lnTo>
                  <a:cubicBezTo>
                    <a:pt x="17168" y="23472"/>
                    <a:pt x="17200" y="21986"/>
                    <a:pt x="18024" y="20564"/>
                  </a:cubicBezTo>
                  <a:cubicBezTo>
                    <a:pt x="18897" y="19029"/>
                    <a:pt x="20464" y="17963"/>
                    <a:pt x="22677" y="17382"/>
                  </a:cubicBezTo>
                  <a:cubicBezTo>
                    <a:pt x="25520" y="16655"/>
                    <a:pt x="28298" y="16752"/>
                    <a:pt x="30996" y="16865"/>
                  </a:cubicBezTo>
                  <a:cubicBezTo>
                    <a:pt x="32240" y="16913"/>
                    <a:pt x="33468" y="16978"/>
                    <a:pt x="34695" y="16930"/>
                  </a:cubicBezTo>
                  <a:cubicBezTo>
                    <a:pt x="37312" y="16833"/>
                    <a:pt x="40689" y="15895"/>
                    <a:pt x="41626" y="13602"/>
                  </a:cubicBezTo>
                  <a:cubicBezTo>
                    <a:pt x="42256" y="12051"/>
                    <a:pt x="41642" y="9838"/>
                    <a:pt x="40139" y="8206"/>
                  </a:cubicBezTo>
                  <a:cubicBezTo>
                    <a:pt x="38411" y="6348"/>
                    <a:pt x="35778" y="5185"/>
                    <a:pt x="33435" y="4297"/>
                  </a:cubicBezTo>
                  <a:lnTo>
                    <a:pt x="33419" y="429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8" name="Free-form: Shape 237">
              <a:extLst>
                <a:ext uri="{FF2B5EF4-FFF2-40B4-BE49-F238E27FC236}">
                  <a16:creationId xmlns:a16="http://schemas.microsoft.com/office/drawing/2014/main" id="{115FF19E-7722-1BFA-E14B-D4C41FCB7E7B}"/>
                </a:ext>
              </a:extLst>
            </p:cNvPr>
            <p:cNvSpPr/>
            <p:nvPr/>
          </p:nvSpPr>
          <p:spPr>
            <a:xfrm>
              <a:off x="5615782" y="5217493"/>
              <a:ext cx="68022" cy="80198"/>
            </a:xfrm>
            <a:custGeom>
              <a:avLst/>
              <a:gdLst>
                <a:gd name="connsiteX0" fmla="*/ 59449 w 68022"/>
                <a:gd name="connsiteY0" fmla="*/ 31905 h 80198"/>
                <a:gd name="connsiteX1" fmla="*/ 53423 w 68022"/>
                <a:gd name="connsiteY1" fmla="*/ 32858 h 80198"/>
                <a:gd name="connsiteX2" fmla="*/ 47349 w 68022"/>
                <a:gd name="connsiteY2" fmla="*/ 34457 h 80198"/>
                <a:gd name="connsiteX3" fmla="*/ 46121 w 68022"/>
                <a:gd name="connsiteY3" fmla="*/ 34376 h 80198"/>
                <a:gd name="connsiteX4" fmla="*/ 35508 w 68022"/>
                <a:gd name="connsiteY4" fmla="*/ 25411 h 80198"/>
                <a:gd name="connsiteX5" fmla="*/ 34070 w 68022"/>
                <a:gd name="connsiteY5" fmla="*/ 12923 h 80198"/>
                <a:gd name="connsiteX6" fmla="*/ 35443 w 68022"/>
                <a:gd name="connsiteY6" fmla="*/ 9870 h 80198"/>
                <a:gd name="connsiteX7" fmla="*/ 36542 w 68022"/>
                <a:gd name="connsiteY7" fmla="*/ 7366 h 80198"/>
                <a:gd name="connsiteX8" fmla="*/ 35363 w 68022"/>
                <a:gd name="connsiteY8" fmla="*/ 3134 h 80198"/>
                <a:gd name="connsiteX9" fmla="*/ 28788 w 68022"/>
                <a:gd name="connsiteY9" fmla="*/ 0 h 80198"/>
                <a:gd name="connsiteX10" fmla="*/ 28384 w 68022"/>
                <a:gd name="connsiteY10" fmla="*/ 0 h 80198"/>
                <a:gd name="connsiteX11" fmla="*/ 14815 w 68022"/>
                <a:gd name="connsiteY11" fmla="*/ 8012 h 80198"/>
                <a:gd name="connsiteX12" fmla="*/ 938 w 68022"/>
                <a:gd name="connsiteY12" fmla="*/ 42906 h 80198"/>
                <a:gd name="connsiteX13" fmla="*/ 4072 w 68022"/>
                <a:gd name="connsiteY13" fmla="*/ 50062 h 80198"/>
                <a:gd name="connsiteX14" fmla="*/ 8304 w 68022"/>
                <a:gd name="connsiteY14" fmla="*/ 65877 h 80198"/>
                <a:gd name="connsiteX15" fmla="*/ 7335 w 68022"/>
                <a:gd name="connsiteY15" fmla="*/ 70029 h 80198"/>
                <a:gd name="connsiteX16" fmla="*/ 6479 w 68022"/>
                <a:gd name="connsiteY16" fmla="*/ 74342 h 80198"/>
                <a:gd name="connsiteX17" fmla="*/ 9839 w 68022"/>
                <a:gd name="connsiteY17" fmla="*/ 79269 h 80198"/>
                <a:gd name="connsiteX18" fmla="*/ 15800 w 68022"/>
                <a:gd name="connsiteY18" fmla="*/ 79511 h 80198"/>
                <a:gd name="connsiteX19" fmla="*/ 20049 w 68022"/>
                <a:gd name="connsiteY19" fmla="*/ 74665 h 80198"/>
                <a:gd name="connsiteX20" fmla="*/ 21712 w 68022"/>
                <a:gd name="connsiteY20" fmla="*/ 72274 h 80198"/>
                <a:gd name="connsiteX21" fmla="*/ 33650 w 68022"/>
                <a:gd name="connsiteY21" fmla="*/ 66862 h 80198"/>
                <a:gd name="connsiteX22" fmla="*/ 41097 w 68022"/>
                <a:gd name="connsiteY22" fmla="*/ 74810 h 80198"/>
                <a:gd name="connsiteX23" fmla="*/ 44716 w 68022"/>
                <a:gd name="connsiteY23" fmla="*/ 79850 h 80198"/>
                <a:gd name="connsiteX24" fmla="*/ 51129 w 68022"/>
                <a:gd name="connsiteY24" fmla="*/ 77088 h 80198"/>
                <a:gd name="connsiteX25" fmla="*/ 53278 w 68022"/>
                <a:gd name="connsiteY25" fmla="*/ 66878 h 80198"/>
                <a:gd name="connsiteX26" fmla="*/ 56234 w 68022"/>
                <a:gd name="connsiteY26" fmla="*/ 53939 h 80198"/>
                <a:gd name="connsiteX27" fmla="*/ 62356 w 68022"/>
                <a:gd name="connsiteY27" fmla="*/ 47397 h 80198"/>
                <a:gd name="connsiteX28" fmla="*/ 67930 w 68022"/>
                <a:gd name="connsiteY28" fmla="*/ 40353 h 80198"/>
                <a:gd name="connsiteX29" fmla="*/ 66573 w 68022"/>
                <a:gd name="connsiteY29" fmla="*/ 35620 h 80198"/>
                <a:gd name="connsiteX30" fmla="*/ 59449 w 68022"/>
                <a:gd name="connsiteY30" fmla="*/ 31888 h 80198"/>
                <a:gd name="connsiteX31" fmla="*/ 59449 w 68022"/>
                <a:gd name="connsiteY31" fmla="*/ 31905 h 8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8022" h="80198">
                  <a:moveTo>
                    <a:pt x="59449" y="31905"/>
                  </a:moveTo>
                  <a:cubicBezTo>
                    <a:pt x="56444" y="31759"/>
                    <a:pt x="55249" y="32195"/>
                    <a:pt x="53423" y="32858"/>
                  </a:cubicBezTo>
                  <a:cubicBezTo>
                    <a:pt x="51985" y="33374"/>
                    <a:pt x="50208" y="34037"/>
                    <a:pt x="47349" y="34457"/>
                  </a:cubicBezTo>
                  <a:cubicBezTo>
                    <a:pt x="46945" y="34521"/>
                    <a:pt x="46525" y="34489"/>
                    <a:pt x="46121" y="34376"/>
                  </a:cubicBezTo>
                  <a:cubicBezTo>
                    <a:pt x="41808" y="33148"/>
                    <a:pt x="37834" y="29804"/>
                    <a:pt x="35508" y="25411"/>
                  </a:cubicBezTo>
                  <a:cubicBezTo>
                    <a:pt x="33327" y="21323"/>
                    <a:pt x="32810" y="16768"/>
                    <a:pt x="34070" y="12923"/>
                  </a:cubicBezTo>
                  <a:cubicBezTo>
                    <a:pt x="34442" y="11793"/>
                    <a:pt x="34975" y="10775"/>
                    <a:pt x="35443" y="9870"/>
                  </a:cubicBezTo>
                  <a:cubicBezTo>
                    <a:pt x="35912" y="8982"/>
                    <a:pt x="36348" y="8142"/>
                    <a:pt x="36542" y="7366"/>
                  </a:cubicBezTo>
                  <a:cubicBezTo>
                    <a:pt x="36994" y="5589"/>
                    <a:pt x="36154" y="4087"/>
                    <a:pt x="35363" y="3134"/>
                  </a:cubicBezTo>
                  <a:cubicBezTo>
                    <a:pt x="33780" y="1228"/>
                    <a:pt x="31195" y="0"/>
                    <a:pt x="28788" y="0"/>
                  </a:cubicBezTo>
                  <a:cubicBezTo>
                    <a:pt x="28659" y="0"/>
                    <a:pt x="28513" y="0"/>
                    <a:pt x="28384" y="0"/>
                  </a:cubicBezTo>
                  <a:cubicBezTo>
                    <a:pt x="23150" y="307"/>
                    <a:pt x="18595" y="4232"/>
                    <a:pt x="14815" y="8012"/>
                  </a:cubicBezTo>
                  <a:cubicBezTo>
                    <a:pt x="9144" y="13683"/>
                    <a:pt x="-3537" y="28415"/>
                    <a:pt x="938" y="42906"/>
                  </a:cubicBezTo>
                  <a:cubicBezTo>
                    <a:pt x="1665" y="45280"/>
                    <a:pt x="2844" y="47606"/>
                    <a:pt x="4072" y="50062"/>
                  </a:cubicBezTo>
                  <a:cubicBezTo>
                    <a:pt x="6527" y="54957"/>
                    <a:pt x="9080" y="60013"/>
                    <a:pt x="8304" y="65877"/>
                  </a:cubicBezTo>
                  <a:cubicBezTo>
                    <a:pt x="8111" y="67363"/>
                    <a:pt x="7707" y="68720"/>
                    <a:pt x="7335" y="70029"/>
                  </a:cubicBezTo>
                  <a:cubicBezTo>
                    <a:pt x="6883" y="71563"/>
                    <a:pt x="6463" y="73017"/>
                    <a:pt x="6479" y="74342"/>
                  </a:cubicBezTo>
                  <a:cubicBezTo>
                    <a:pt x="6495" y="76603"/>
                    <a:pt x="8224" y="78380"/>
                    <a:pt x="9839" y="79269"/>
                  </a:cubicBezTo>
                  <a:cubicBezTo>
                    <a:pt x="11454" y="80157"/>
                    <a:pt x="13861" y="80706"/>
                    <a:pt x="15800" y="79511"/>
                  </a:cubicBezTo>
                  <a:cubicBezTo>
                    <a:pt x="17464" y="78493"/>
                    <a:pt x="18724" y="76635"/>
                    <a:pt x="20049" y="74665"/>
                  </a:cubicBezTo>
                  <a:cubicBezTo>
                    <a:pt x="20598" y="73857"/>
                    <a:pt x="21147" y="73049"/>
                    <a:pt x="21712" y="72274"/>
                  </a:cubicBezTo>
                  <a:cubicBezTo>
                    <a:pt x="25121" y="67734"/>
                    <a:pt x="29596" y="65715"/>
                    <a:pt x="33650" y="66862"/>
                  </a:cubicBezTo>
                  <a:cubicBezTo>
                    <a:pt x="37770" y="68026"/>
                    <a:pt x="39611" y="71789"/>
                    <a:pt x="41097" y="74810"/>
                  </a:cubicBezTo>
                  <a:cubicBezTo>
                    <a:pt x="42164" y="76991"/>
                    <a:pt x="43181" y="79059"/>
                    <a:pt x="44716" y="79850"/>
                  </a:cubicBezTo>
                  <a:cubicBezTo>
                    <a:pt x="46751" y="80917"/>
                    <a:pt x="49788" y="79269"/>
                    <a:pt x="51129" y="77088"/>
                  </a:cubicBezTo>
                  <a:cubicBezTo>
                    <a:pt x="52890" y="74229"/>
                    <a:pt x="53100" y="70319"/>
                    <a:pt x="53278" y="66878"/>
                  </a:cubicBezTo>
                  <a:cubicBezTo>
                    <a:pt x="53488" y="62937"/>
                    <a:pt x="53730" y="58042"/>
                    <a:pt x="56234" y="53939"/>
                  </a:cubicBezTo>
                  <a:cubicBezTo>
                    <a:pt x="57849" y="51273"/>
                    <a:pt x="60143" y="49303"/>
                    <a:pt x="62356" y="47397"/>
                  </a:cubicBezTo>
                  <a:cubicBezTo>
                    <a:pt x="65070" y="45054"/>
                    <a:pt x="67413" y="43051"/>
                    <a:pt x="67930" y="40353"/>
                  </a:cubicBezTo>
                  <a:cubicBezTo>
                    <a:pt x="68317" y="38350"/>
                    <a:pt x="67413" y="36670"/>
                    <a:pt x="66573" y="35620"/>
                  </a:cubicBezTo>
                  <a:cubicBezTo>
                    <a:pt x="64893" y="33488"/>
                    <a:pt x="62098" y="32018"/>
                    <a:pt x="59449" y="31888"/>
                  </a:cubicBezTo>
                  <a:lnTo>
                    <a:pt x="59449" y="3190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9" name="Free-form: Shape 238">
              <a:extLst>
                <a:ext uri="{FF2B5EF4-FFF2-40B4-BE49-F238E27FC236}">
                  <a16:creationId xmlns:a16="http://schemas.microsoft.com/office/drawing/2014/main" id="{633E21DB-F3A8-62E2-71ED-2B110854371C}"/>
                </a:ext>
              </a:extLst>
            </p:cNvPr>
            <p:cNvSpPr/>
            <p:nvPr/>
          </p:nvSpPr>
          <p:spPr>
            <a:xfrm>
              <a:off x="5746475" y="5099422"/>
              <a:ext cx="61307" cy="72691"/>
            </a:xfrm>
            <a:custGeom>
              <a:avLst/>
              <a:gdLst>
                <a:gd name="connsiteX0" fmla="*/ 52772 w 61307"/>
                <a:gd name="connsiteY0" fmla="*/ 30418 h 72691"/>
                <a:gd name="connsiteX1" fmla="*/ 49945 w 61307"/>
                <a:gd name="connsiteY1" fmla="*/ 29352 h 72691"/>
                <a:gd name="connsiteX2" fmla="*/ 43580 w 61307"/>
                <a:gd name="connsiteY2" fmla="*/ 26412 h 72691"/>
                <a:gd name="connsiteX3" fmla="*/ 39283 w 61307"/>
                <a:gd name="connsiteY3" fmla="*/ 15750 h 72691"/>
                <a:gd name="connsiteX4" fmla="*/ 39348 w 61307"/>
                <a:gd name="connsiteY4" fmla="*/ 14151 h 72691"/>
                <a:gd name="connsiteX5" fmla="*/ 34727 w 61307"/>
                <a:gd name="connsiteY5" fmla="*/ 6025 h 72691"/>
                <a:gd name="connsiteX6" fmla="*/ 32902 w 61307"/>
                <a:gd name="connsiteY6" fmla="*/ 4620 h 72691"/>
                <a:gd name="connsiteX7" fmla="*/ 25697 w 61307"/>
                <a:gd name="connsiteY7" fmla="*/ 0 h 72691"/>
                <a:gd name="connsiteX8" fmla="*/ 20172 w 61307"/>
                <a:gd name="connsiteY8" fmla="*/ 953 h 72691"/>
                <a:gd name="connsiteX9" fmla="*/ 16522 w 61307"/>
                <a:gd name="connsiteY9" fmla="*/ 4685 h 72691"/>
                <a:gd name="connsiteX10" fmla="*/ 13549 w 61307"/>
                <a:gd name="connsiteY10" fmla="*/ 8142 h 72691"/>
                <a:gd name="connsiteX11" fmla="*/ 7152 w 61307"/>
                <a:gd name="connsiteY11" fmla="*/ 12326 h 72691"/>
                <a:gd name="connsiteX12" fmla="*/ 3921 w 61307"/>
                <a:gd name="connsiteY12" fmla="*/ 14151 h 72691"/>
                <a:gd name="connsiteX13" fmla="*/ 44 w 61307"/>
                <a:gd name="connsiteY13" fmla="*/ 20048 h 72691"/>
                <a:gd name="connsiteX14" fmla="*/ 6231 w 61307"/>
                <a:gd name="connsiteY14" fmla="*/ 24409 h 72691"/>
                <a:gd name="connsiteX15" fmla="*/ 9559 w 61307"/>
                <a:gd name="connsiteY15" fmla="*/ 24894 h 72691"/>
                <a:gd name="connsiteX16" fmla="*/ 18234 w 61307"/>
                <a:gd name="connsiteY16" fmla="*/ 27091 h 72691"/>
                <a:gd name="connsiteX17" fmla="*/ 27555 w 61307"/>
                <a:gd name="connsiteY17" fmla="*/ 47671 h 72691"/>
                <a:gd name="connsiteX18" fmla="*/ 27345 w 61307"/>
                <a:gd name="connsiteY18" fmla="*/ 52631 h 72691"/>
                <a:gd name="connsiteX19" fmla="*/ 28508 w 61307"/>
                <a:gd name="connsiteY19" fmla="*/ 66975 h 72691"/>
                <a:gd name="connsiteX20" fmla="*/ 32805 w 61307"/>
                <a:gd name="connsiteY20" fmla="*/ 72113 h 72691"/>
                <a:gd name="connsiteX21" fmla="*/ 38007 w 61307"/>
                <a:gd name="connsiteY21" fmla="*/ 71757 h 72691"/>
                <a:gd name="connsiteX22" fmla="*/ 39751 w 61307"/>
                <a:gd name="connsiteY22" fmla="*/ 69092 h 72691"/>
                <a:gd name="connsiteX23" fmla="*/ 41496 w 61307"/>
                <a:gd name="connsiteY23" fmla="*/ 64843 h 72691"/>
                <a:gd name="connsiteX24" fmla="*/ 50219 w 61307"/>
                <a:gd name="connsiteY24" fmla="*/ 51742 h 72691"/>
                <a:gd name="connsiteX25" fmla="*/ 54581 w 61307"/>
                <a:gd name="connsiteY25" fmla="*/ 49723 h 72691"/>
                <a:gd name="connsiteX26" fmla="*/ 58264 w 61307"/>
                <a:gd name="connsiteY26" fmla="*/ 47978 h 72691"/>
                <a:gd name="connsiteX27" fmla="*/ 60849 w 61307"/>
                <a:gd name="connsiteY27" fmla="*/ 38512 h 72691"/>
                <a:gd name="connsiteX28" fmla="*/ 52788 w 61307"/>
                <a:gd name="connsiteY28" fmla="*/ 30451 h 72691"/>
                <a:gd name="connsiteX29" fmla="*/ 52772 w 61307"/>
                <a:gd name="connsiteY29" fmla="*/ 30418 h 72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1307" h="72691">
                  <a:moveTo>
                    <a:pt x="52772" y="30418"/>
                  </a:moveTo>
                  <a:cubicBezTo>
                    <a:pt x="51851" y="30015"/>
                    <a:pt x="50898" y="29692"/>
                    <a:pt x="49945" y="29352"/>
                  </a:cubicBezTo>
                  <a:cubicBezTo>
                    <a:pt x="47812" y="28609"/>
                    <a:pt x="45615" y="27834"/>
                    <a:pt x="43580" y="26412"/>
                  </a:cubicBezTo>
                  <a:cubicBezTo>
                    <a:pt x="38879" y="23149"/>
                    <a:pt x="39105" y="19046"/>
                    <a:pt x="39283" y="15750"/>
                  </a:cubicBezTo>
                  <a:cubicBezTo>
                    <a:pt x="39315" y="15234"/>
                    <a:pt x="39348" y="14700"/>
                    <a:pt x="39348" y="14151"/>
                  </a:cubicBezTo>
                  <a:cubicBezTo>
                    <a:pt x="39412" y="11308"/>
                    <a:pt x="37684" y="8271"/>
                    <a:pt x="34727" y="6025"/>
                  </a:cubicBezTo>
                  <a:cubicBezTo>
                    <a:pt x="34114" y="5557"/>
                    <a:pt x="33516" y="5089"/>
                    <a:pt x="32902" y="4620"/>
                  </a:cubicBezTo>
                  <a:cubicBezTo>
                    <a:pt x="30527" y="2747"/>
                    <a:pt x="28266" y="986"/>
                    <a:pt x="25697" y="0"/>
                  </a:cubicBezTo>
                  <a:cubicBezTo>
                    <a:pt x="23613" y="16"/>
                    <a:pt x="21643" y="146"/>
                    <a:pt x="20172" y="953"/>
                  </a:cubicBezTo>
                  <a:cubicBezTo>
                    <a:pt x="18816" y="1712"/>
                    <a:pt x="17701" y="3150"/>
                    <a:pt x="16522" y="4685"/>
                  </a:cubicBezTo>
                  <a:cubicBezTo>
                    <a:pt x="15633" y="5848"/>
                    <a:pt x="14696" y="7060"/>
                    <a:pt x="13549" y="8142"/>
                  </a:cubicBezTo>
                  <a:cubicBezTo>
                    <a:pt x="11595" y="9984"/>
                    <a:pt x="9333" y="11179"/>
                    <a:pt x="7152" y="12326"/>
                  </a:cubicBezTo>
                  <a:cubicBezTo>
                    <a:pt x="6005" y="12923"/>
                    <a:pt x="4923" y="13505"/>
                    <a:pt x="3921" y="14151"/>
                  </a:cubicBezTo>
                  <a:cubicBezTo>
                    <a:pt x="1886" y="15460"/>
                    <a:pt x="-343" y="17786"/>
                    <a:pt x="44" y="20048"/>
                  </a:cubicBezTo>
                  <a:cubicBezTo>
                    <a:pt x="432" y="22293"/>
                    <a:pt x="3437" y="23860"/>
                    <a:pt x="6231" y="24409"/>
                  </a:cubicBezTo>
                  <a:cubicBezTo>
                    <a:pt x="7330" y="24619"/>
                    <a:pt x="8444" y="24765"/>
                    <a:pt x="9559" y="24894"/>
                  </a:cubicBezTo>
                  <a:cubicBezTo>
                    <a:pt x="12435" y="25249"/>
                    <a:pt x="15407" y="25621"/>
                    <a:pt x="18234" y="27091"/>
                  </a:cubicBezTo>
                  <a:cubicBezTo>
                    <a:pt x="24324" y="30273"/>
                    <a:pt x="27733" y="37769"/>
                    <a:pt x="27555" y="47671"/>
                  </a:cubicBezTo>
                  <a:cubicBezTo>
                    <a:pt x="27523" y="49303"/>
                    <a:pt x="27442" y="50967"/>
                    <a:pt x="27345" y="52631"/>
                  </a:cubicBezTo>
                  <a:cubicBezTo>
                    <a:pt x="27054" y="57800"/>
                    <a:pt x="26780" y="62678"/>
                    <a:pt x="28508" y="66975"/>
                  </a:cubicBezTo>
                  <a:cubicBezTo>
                    <a:pt x="29477" y="69398"/>
                    <a:pt x="31012" y="71224"/>
                    <a:pt x="32805" y="72113"/>
                  </a:cubicBezTo>
                  <a:cubicBezTo>
                    <a:pt x="34582" y="73001"/>
                    <a:pt x="36779" y="72856"/>
                    <a:pt x="38007" y="71757"/>
                  </a:cubicBezTo>
                  <a:cubicBezTo>
                    <a:pt x="38750" y="71095"/>
                    <a:pt x="39299" y="70029"/>
                    <a:pt x="39751" y="69092"/>
                  </a:cubicBezTo>
                  <a:cubicBezTo>
                    <a:pt x="40365" y="67751"/>
                    <a:pt x="40915" y="66345"/>
                    <a:pt x="41496" y="64843"/>
                  </a:cubicBezTo>
                  <a:cubicBezTo>
                    <a:pt x="43305" y="60126"/>
                    <a:pt x="45373" y="54779"/>
                    <a:pt x="50219" y="51742"/>
                  </a:cubicBezTo>
                  <a:cubicBezTo>
                    <a:pt x="51657" y="50837"/>
                    <a:pt x="53143" y="50272"/>
                    <a:pt x="54581" y="49723"/>
                  </a:cubicBezTo>
                  <a:cubicBezTo>
                    <a:pt x="55954" y="49190"/>
                    <a:pt x="57263" y="48689"/>
                    <a:pt x="58264" y="47978"/>
                  </a:cubicBezTo>
                  <a:cubicBezTo>
                    <a:pt x="60897" y="46104"/>
                    <a:pt x="62012" y="42033"/>
                    <a:pt x="60849" y="38512"/>
                  </a:cubicBezTo>
                  <a:cubicBezTo>
                    <a:pt x="59734" y="35168"/>
                    <a:pt x="56729" y="32147"/>
                    <a:pt x="52788" y="30451"/>
                  </a:cubicBezTo>
                  <a:lnTo>
                    <a:pt x="52772" y="3041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0" name="Free-form: Shape 239">
              <a:extLst>
                <a:ext uri="{FF2B5EF4-FFF2-40B4-BE49-F238E27FC236}">
                  <a16:creationId xmlns:a16="http://schemas.microsoft.com/office/drawing/2014/main" id="{4CBD059D-C170-A2F1-864D-6FFC8A9B94F8}"/>
                </a:ext>
              </a:extLst>
            </p:cNvPr>
            <p:cNvSpPr/>
            <p:nvPr/>
          </p:nvSpPr>
          <p:spPr>
            <a:xfrm>
              <a:off x="5888644" y="5097080"/>
              <a:ext cx="34773" cy="33633"/>
            </a:xfrm>
            <a:custGeom>
              <a:avLst/>
              <a:gdLst>
                <a:gd name="connsiteX0" fmla="*/ 18335 w 34773"/>
                <a:gd name="connsiteY0" fmla="*/ 6413 h 33633"/>
                <a:gd name="connsiteX1" fmla="*/ 17172 w 34773"/>
                <a:gd name="connsiteY1" fmla="*/ 4846 h 33633"/>
                <a:gd name="connsiteX2" fmla="*/ 14345 w 34773"/>
                <a:gd name="connsiteY2" fmla="*/ 1599 h 33633"/>
                <a:gd name="connsiteX3" fmla="*/ 8578 w 34773"/>
                <a:gd name="connsiteY3" fmla="*/ 0 h 33633"/>
                <a:gd name="connsiteX4" fmla="*/ 1244 w 34773"/>
                <a:gd name="connsiteY4" fmla="*/ 3909 h 33633"/>
                <a:gd name="connsiteX5" fmla="*/ 0 w 34773"/>
                <a:gd name="connsiteY5" fmla="*/ 5379 h 33633"/>
                <a:gd name="connsiteX6" fmla="*/ 17980 w 34773"/>
                <a:gd name="connsiteY6" fmla="*/ 23763 h 33633"/>
                <a:gd name="connsiteX7" fmla="*/ 20047 w 34773"/>
                <a:gd name="connsiteY7" fmla="*/ 26590 h 33633"/>
                <a:gd name="connsiteX8" fmla="*/ 30903 w 34773"/>
                <a:gd name="connsiteY8" fmla="*/ 33439 h 33633"/>
                <a:gd name="connsiteX9" fmla="*/ 34667 w 34773"/>
                <a:gd name="connsiteY9" fmla="*/ 25734 h 33633"/>
                <a:gd name="connsiteX10" fmla="*/ 28448 w 34773"/>
                <a:gd name="connsiteY10" fmla="*/ 16073 h 33633"/>
                <a:gd name="connsiteX11" fmla="*/ 25394 w 34773"/>
                <a:gd name="connsiteY11" fmla="*/ 13360 h 33633"/>
                <a:gd name="connsiteX12" fmla="*/ 18351 w 34773"/>
                <a:gd name="connsiteY12" fmla="*/ 6397 h 33633"/>
                <a:gd name="connsiteX13" fmla="*/ 18335 w 34773"/>
                <a:gd name="connsiteY13" fmla="*/ 6413 h 3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773" h="33633">
                  <a:moveTo>
                    <a:pt x="18335" y="6413"/>
                  </a:moveTo>
                  <a:cubicBezTo>
                    <a:pt x="17931" y="5897"/>
                    <a:pt x="17560" y="5379"/>
                    <a:pt x="17172" y="4846"/>
                  </a:cubicBezTo>
                  <a:cubicBezTo>
                    <a:pt x="16251" y="3586"/>
                    <a:pt x="15379" y="2391"/>
                    <a:pt x="14345" y="1599"/>
                  </a:cubicBezTo>
                  <a:cubicBezTo>
                    <a:pt x="12988" y="566"/>
                    <a:pt x="11049" y="32"/>
                    <a:pt x="8578" y="0"/>
                  </a:cubicBezTo>
                  <a:cubicBezTo>
                    <a:pt x="6962" y="81"/>
                    <a:pt x="3635" y="1551"/>
                    <a:pt x="1244" y="3909"/>
                  </a:cubicBezTo>
                  <a:cubicBezTo>
                    <a:pt x="695" y="4459"/>
                    <a:pt x="291" y="4943"/>
                    <a:pt x="0" y="5379"/>
                  </a:cubicBezTo>
                  <a:cubicBezTo>
                    <a:pt x="7673" y="9563"/>
                    <a:pt x="12907" y="16768"/>
                    <a:pt x="17980" y="23763"/>
                  </a:cubicBezTo>
                  <a:cubicBezTo>
                    <a:pt x="18674" y="24716"/>
                    <a:pt x="19353" y="25653"/>
                    <a:pt x="20047" y="26590"/>
                  </a:cubicBezTo>
                  <a:cubicBezTo>
                    <a:pt x="22325" y="29675"/>
                    <a:pt x="26784" y="34683"/>
                    <a:pt x="30903" y="33439"/>
                  </a:cubicBezTo>
                  <a:cubicBezTo>
                    <a:pt x="33795" y="32583"/>
                    <a:pt x="35184" y="28755"/>
                    <a:pt x="34667" y="25734"/>
                  </a:cubicBezTo>
                  <a:cubicBezTo>
                    <a:pt x="34134" y="22616"/>
                    <a:pt x="32147" y="19547"/>
                    <a:pt x="28448" y="16073"/>
                  </a:cubicBezTo>
                  <a:cubicBezTo>
                    <a:pt x="27446" y="15137"/>
                    <a:pt x="26428" y="14248"/>
                    <a:pt x="25394" y="13360"/>
                  </a:cubicBezTo>
                  <a:cubicBezTo>
                    <a:pt x="22955" y="11243"/>
                    <a:pt x="20451" y="9063"/>
                    <a:pt x="18351" y="6397"/>
                  </a:cubicBezTo>
                  <a:lnTo>
                    <a:pt x="18335" y="641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1" name="Free-form: Shape 240">
              <a:extLst>
                <a:ext uri="{FF2B5EF4-FFF2-40B4-BE49-F238E27FC236}">
                  <a16:creationId xmlns:a16="http://schemas.microsoft.com/office/drawing/2014/main" id="{455687DB-A9C9-7FE3-9DCF-2DE76B441B01}"/>
                </a:ext>
              </a:extLst>
            </p:cNvPr>
            <p:cNvSpPr/>
            <p:nvPr/>
          </p:nvSpPr>
          <p:spPr>
            <a:xfrm>
              <a:off x="5875146" y="5233777"/>
              <a:ext cx="41673" cy="59228"/>
            </a:xfrm>
            <a:custGeom>
              <a:avLst/>
              <a:gdLst>
                <a:gd name="connsiteX0" fmla="*/ 36194 w 41673"/>
                <a:gd name="connsiteY0" fmla="*/ 38576 h 59228"/>
                <a:gd name="connsiteX1" fmla="*/ 36065 w 41673"/>
                <a:gd name="connsiteY1" fmla="*/ 35636 h 59228"/>
                <a:gd name="connsiteX2" fmla="*/ 34692 w 41673"/>
                <a:gd name="connsiteY2" fmla="*/ 28577 h 59228"/>
                <a:gd name="connsiteX3" fmla="*/ 34514 w 41673"/>
                <a:gd name="connsiteY3" fmla="*/ 28124 h 59228"/>
                <a:gd name="connsiteX4" fmla="*/ 38262 w 41673"/>
                <a:gd name="connsiteY4" fmla="*/ 14668 h 59228"/>
                <a:gd name="connsiteX5" fmla="*/ 41654 w 41673"/>
                <a:gd name="connsiteY5" fmla="*/ 6235 h 59228"/>
                <a:gd name="connsiteX6" fmla="*/ 33076 w 41673"/>
                <a:gd name="connsiteY6" fmla="*/ 0 h 59228"/>
                <a:gd name="connsiteX7" fmla="*/ 32979 w 41673"/>
                <a:gd name="connsiteY7" fmla="*/ 0 h 59228"/>
                <a:gd name="connsiteX8" fmla="*/ 19620 w 41673"/>
                <a:gd name="connsiteY8" fmla="*/ 5185 h 59228"/>
                <a:gd name="connsiteX9" fmla="*/ 10525 w 41673"/>
                <a:gd name="connsiteY9" fmla="*/ 13763 h 59228"/>
                <a:gd name="connsiteX10" fmla="*/ 9362 w 41673"/>
                <a:gd name="connsiteY10" fmla="*/ 20273 h 59228"/>
                <a:gd name="connsiteX11" fmla="*/ 7149 w 41673"/>
                <a:gd name="connsiteY11" fmla="*/ 29804 h 59228"/>
                <a:gd name="connsiteX12" fmla="*/ 4095 w 41673"/>
                <a:gd name="connsiteY12" fmla="*/ 33891 h 59228"/>
                <a:gd name="connsiteX13" fmla="*/ 2399 w 41673"/>
                <a:gd name="connsiteY13" fmla="*/ 35959 h 59228"/>
                <a:gd name="connsiteX14" fmla="*/ 2884 w 41673"/>
                <a:gd name="connsiteY14" fmla="*/ 52727 h 59228"/>
                <a:gd name="connsiteX15" fmla="*/ 19313 w 41673"/>
                <a:gd name="connsiteY15" fmla="*/ 59011 h 59228"/>
                <a:gd name="connsiteX16" fmla="*/ 34175 w 41673"/>
                <a:gd name="connsiteY16" fmla="*/ 48204 h 59228"/>
                <a:gd name="connsiteX17" fmla="*/ 36178 w 41673"/>
                <a:gd name="connsiteY17" fmla="*/ 38576 h 59228"/>
                <a:gd name="connsiteX18" fmla="*/ 36194 w 41673"/>
                <a:gd name="connsiteY18" fmla="*/ 38576 h 5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1673" h="59228">
                  <a:moveTo>
                    <a:pt x="36194" y="38576"/>
                  </a:moveTo>
                  <a:cubicBezTo>
                    <a:pt x="36113" y="37542"/>
                    <a:pt x="36081" y="36573"/>
                    <a:pt x="36065" y="35636"/>
                  </a:cubicBezTo>
                  <a:cubicBezTo>
                    <a:pt x="36000" y="33180"/>
                    <a:pt x="35968" y="31242"/>
                    <a:pt x="34692" y="28577"/>
                  </a:cubicBezTo>
                  <a:cubicBezTo>
                    <a:pt x="34627" y="28431"/>
                    <a:pt x="34562" y="28270"/>
                    <a:pt x="34514" y="28124"/>
                  </a:cubicBezTo>
                  <a:cubicBezTo>
                    <a:pt x="33060" y="22971"/>
                    <a:pt x="35822" y="18561"/>
                    <a:pt x="38262" y="14668"/>
                  </a:cubicBezTo>
                  <a:cubicBezTo>
                    <a:pt x="40119" y="11712"/>
                    <a:pt x="41880" y="8917"/>
                    <a:pt x="41654" y="6235"/>
                  </a:cubicBezTo>
                  <a:cubicBezTo>
                    <a:pt x="41347" y="2536"/>
                    <a:pt x="36905" y="0"/>
                    <a:pt x="33076" y="0"/>
                  </a:cubicBezTo>
                  <a:lnTo>
                    <a:pt x="32979" y="0"/>
                  </a:lnTo>
                  <a:cubicBezTo>
                    <a:pt x="28343" y="49"/>
                    <a:pt x="23836" y="2584"/>
                    <a:pt x="19620" y="5185"/>
                  </a:cubicBezTo>
                  <a:cubicBezTo>
                    <a:pt x="15856" y="7512"/>
                    <a:pt x="12043" y="10080"/>
                    <a:pt x="10525" y="13763"/>
                  </a:cubicBezTo>
                  <a:cubicBezTo>
                    <a:pt x="9749" y="15653"/>
                    <a:pt x="9556" y="17899"/>
                    <a:pt x="9362" y="20273"/>
                  </a:cubicBezTo>
                  <a:cubicBezTo>
                    <a:pt x="9103" y="23440"/>
                    <a:pt x="8829" y="26735"/>
                    <a:pt x="7149" y="29804"/>
                  </a:cubicBezTo>
                  <a:cubicBezTo>
                    <a:pt x="6276" y="31404"/>
                    <a:pt x="5178" y="32664"/>
                    <a:pt x="4095" y="33891"/>
                  </a:cubicBezTo>
                  <a:cubicBezTo>
                    <a:pt x="3514" y="34570"/>
                    <a:pt x="2916" y="35232"/>
                    <a:pt x="2399" y="35959"/>
                  </a:cubicBezTo>
                  <a:cubicBezTo>
                    <a:pt x="-977" y="40644"/>
                    <a:pt x="-767" y="47865"/>
                    <a:pt x="2884" y="52727"/>
                  </a:cubicBezTo>
                  <a:cubicBezTo>
                    <a:pt x="6470" y="57493"/>
                    <a:pt x="13061" y="60013"/>
                    <a:pt x="19313" y="59011"/>
                  </a:cubicBezTo>
                  <a:cubicBezTo>
                    <a:pt x="25306" y="58042"/>
                    <a:pt x="30992" y="53906"/>
                    <a:pt x="34175" y="48204"/>
                  </a:cubicBezTo>
                  <a:cubicBezTo>
                    <a:pt x="35774" y="45345"/>
                    <a:pt x="36468" y="42017"/>
                    <a:pt x="36178" y="38576"/>
                  </a:cubicBezTo>
                  <a:lnTo>
                    <a:pt x="36194" y="3857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2" name="Free-form: Shape 241">
              <a:extLst>
                <a:ext uri="{FF2B5EF4-FFF2-40B4-BE49-F238E27FC236}">
                  <a16:creationId xmlns:a16="http://schemas.microsoft.com/office/drawing/2014/main" id="{8605AA8C-7249-8BF7-6502-86AD04DE8606}"/>
                </a:ext>
              </a:extLst>
            </p:cNvPr>
            <p:cNvSpPr/>
            <p:nvPr/>
          </p:nvSpPr>
          <p:spPr>
            <a:xfrm>
              <a:off x="5639316" y="5814908"/>
              <a:ext cx="40141" cy="59452"/>
            </a:xfrm>
            <a:custGeom>
              <a:avLst/>
              <a:gdLst>
                <a:gd name="connsiteX0" fmla="*/ 37869 w 40141"/>
                <a:gd name="connsiteY0" fmla="*/ 39562 h 59452"/>
                <a:gd name="connsiteX1" fmla="*/ 35236 w 40141"/>
                <a:gd name="connsiteY1" fmla="*/ 27575 h 59452"/>
                <a:gd name="connsiteX2" fmla="*/ 35430 w 40141"/>
                <a:gd name="connsiteY2" fmla="*/ 23472 h 59452"/>
                <a:gd name="connsiteX3" fmla="*/ 34897 w 40141"/>
                <a:gd name="connsiteY3" fmla="*/ 16396 h 59452"/>
                <a:gd name="connsiteX4" fmla="*/ 30373 w 40141"/>
                <a:gd name="connsiteY4" fmla="*/ 12099 h 59452"/>
                <a:gd name="connsiteX5" fmla="*/ 25430 w 40141"/>
                <a:gd name="connsiteY5" fmla="*/ 5719 h 59452"/>
                <a:gd name="connsiteX6" fmla="*/ 22167 w 40141"/>
                <a:gd name="connsiteY6" fmla="*/ 1163 h 59452"/>
                <a:gd name="connsiteX7" fmla="*/ 21375 w 40141"/>
                <a:gd name="connsiteY7" fmla="*/ 323 h 59452"/>
                <a:gd name="connsiteX8" fmla="*/ 20632 w 40141"/>
                <a:gd name="connsiteY8" fmla="*/ 0 h 59452"/>
                <a:gd name="connsiteX9" fmla="*/ 20471 w 40141"/>
                <a:gd name="connsiteY9" fmla="*/ 0 h 59452"/>
                <a:gd name="connsiteX10" fmla="*/ 17046 w 40141"/>
                <a:gd name="connsiteY10" fmla="*/ 2375 h 59452"/>
                <a:gd name="connsiteX11" fmla="*/ 15964 w 40141"/>
                <a:gd name="connsiteY11" fmla="*/ 8206 h 59452"/>
                <a:gd name="connsiteX12" fmla="*/ 15188 w 40141"/>
                <a:gd name="connsiteY12" fmla="*/ 13699 h 59452"/>
                <a:gd name="connsiteX13" fmla="*/ 7160 w 40141"/>
                <a:gd name="connsiteY13" fmla="*/ 26283 h 59452"/>
                <a:gd name="connsiteX14" fmla="*/ 488 w 40141"/>
                <a:gd name="connsiteY14" fmla="*/ 36153 h 59452"/>
                <a:gd name="connsiteX15" fmla="*/ 7386 w 40141"/>
                <a:gd name="connsiteY15" fmla="*/ 52985 h 59452"/>
                <a:gd name="connsiteX16" fmla="*/ 27433 w 40141"/>
                <a:gd name="connsiteY16" fmla="*/ 59286 h 59452"/>
                <a:gd name="connsiteX17" fmla="*/ 36819 w 40141"/>
                <a:gd name="connsiteY17" fmla="*/ 57945 h 59452"/>
                <a:gd name="connsiteX18" fmla="*/ 39565 w 40141"/>
                <a:gd name="connsiteY18" fmla="*/ 45070 h 59452"/>
                <a:gd name="connsiteX19" fmla="*/ 37885 w 40141"/>
                <a:gd name="connsiteY19" fmla="*/ 39545 h 59452"/>
                <a:gd name="connsiteX20" fmla="*/ 37869 w 40141"/>
                <a:gd name="connsiteY20" fmla="*/ 39562 h 59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141" h="59452">
                  <a:moveTo>
                    <a:pt x="37869" y="39562"/>
                  </a:moveTo>
                  <a:cubicBezTo>
                    <a:pt x="36609" y="35765"/>
                    <a:pt x="35300" y="31840"/>
                    <a:pt x="35236" y="27575"/>
                  </a:cubicBezTo>
                  <a:cubicBezTo>
                    <a:pt x="35220" y="26186"/>
                    <a:pt x="35333" y="24796"/>
                    <a:pt x="35430" y="23472"/>
                  </a:cubicBezTo>
                  <a:cubicBezTo>
                    <a:pt x="35640" y="20806"/>
                    <a:pt x="35850" y="18302"/>
                    <a:pt x="34897" y="16396"/>
                  </a:cubicBezTo>
                  <a:cubicBezTo>
                    <a:pt x="34040" y="14700"/>
                    <a:pt x="32086" y="13311"/>
                    <a:pt x="30373" y="12099"/>
                  </a:cubicBezTo>
                  <a:cubicBezTo>
                    <a:pt x="28257" y="10613"/>
                    <a:pt x="26819" y="8126"/>
                    <a:pt x="25430" y="5719"/>
                  </a:cubicBezTo>
                  <a:cubicBezTo>
                    <a:pt x="24348" y="3861"/>
                    <a:pt x="23233" y="1922"/>
                    <a:pt x="22167" y="1163"/>
                  </a:cubicBezTo>
                  <a:cubicBezTo>
                    <a:pt x="21844" y="937"/>
                    <a:pt x="21585" y="646"/>
                    <a:pt x="21375" y="323"/>
                  </a:cubicBezTo>
                  <a:cubicBezTo>
                    <a:pt x="21311" y="210"/>
                    <a:pt x="21165" y="0"/>
                    <a:pt x="20632" y="0"/>
                  </a:cubicBezTo>
                  <a:cubicBezTo>
                    <a:pt x="20584" y="0"/>
                    <a:pt x="20535" y="0"/>
                    <a:pt x="20471" y="0"/>
                  </a:cubicBezTo>
                  <a:cubicBezTo>
                    <a:pt x="19146" y="80"/>
                    <a:pt x="17579" y="1179"/>
                    <a:pt x="17046" y="2375"/>
                  </a:cubicBezTo>
                  <a:cubicBezTo>
                    <a:pt x="16303" y="4039"/>
                    <a:pt x="16141" y="6058"/>
                    <a:pt x="15964" y="8206"/>
                  </a:cubicBezTo>
                  <a:cubicBezTo>
                    <a:pt x="15818" y="9983"/>
                    <a:pt x="15673" y="11841"/>
                    <a:pt x="15188" y="13699"/>
                  </a:cubicBezTo>
                  <a:cubicBezTo>
                    <a:pt x="13864" y="18803"/>
                    <a:pt x="10455" y="22600"/>
                    <a:pt x="7160" y="26283"/>
                  </a:cubicBezTo>
                  <a:cubicBezTo>
                    <a:pt x="4284" y="29498"/>
                    <a:pt x="1554" y="32534"/>
                    <a:pt x="488" y="36153"/>
                  </a:cubicBezTo>
                  <a:cubicBezTo>
                    <a:pt x="-1450" y="42744"/>
                    <a:pt x="2701" y="49496"/>
                    <a:pt x="7386" y="52985"/>
                  </a:cubicBezTo>
                  <a:cubicBezTo>
                    <a:pt x="12087" y="56491"/>
                    <a:pt x="18451" y="58494"/>
                    <a:pt x="27433" y="59286"/>
                  </a:cubicBezTo>
                  <a:cubicBezTo>
                    <a:pt x="30874" y="59593"/>
                    <a:pt x="34380" y="59641"/>
                    <a:pt x="36819" y="57945"/>
                  </a:cubicBezTo>
                  <a:cubicBezTo>
                    <a:pt x="40518" y="55361"/>
                    <a:pt x="40615" y="49399"/>
                    <a:pt x="39565" y="45070"/>
                  </a:cubicBezTo>
                  <a:cubicBezTo>
                    <a:pt x="39129" y="43245"/>
                    <a:pt x="38531" y="41452"/>
                    <a:pt x="37885" y="39545"/>
                  </a:cubicBezTo>
                  <a:lnTo>
                    <a:pt x="37869" y="3956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3" name="Free-form: Shape 242">
              <a:extLst>
                <a:ext uri="{FF2B5EF4-FFF2-40B4-BE49-F238E27FC236}">
                  <a16:creationId xmlns:a16="http://schemas.microsoft.com/office/drawing/2014/main" id="{9C18BC28-A0AC-3E48-0337-7B91D5B117CC}"/>
                </a:ext>
              </a:extLst>
            </p:cNvPr>
            <p:cNvSpPr/>
            <p:nvPr/>
          </p:nvSpPr>
          <p:spPr>
            <a:xfrm>
              <a:off x="5797691" y="5015062"/>
              <a:ext cx="107433" cy="50326"/>
            </a:xfrm>
            <a:custGeom>
              <a:avLst/>
              <a:gdLst>
                <a:gd name="connsiteX0" fmla="*/ 107204 w 107433"/>
                <a:gd name="connsiteY0" fmla="*/ 24638 h 50326"/>
                <a:gd name="connsiteX1" fmla="*/ 99870 w 107433"/>
                <a:gd name="connsiteY1" fmla="*/ 9986 h 50326"/>
                <a:gd name="connsiteX2" fmla="*/ 99725 w 107433"/>
                <a:gd name="connsiteY2" fmla="*/ 9937 h 50326"/>
                <a:gd name="connsiteX3" fmla="*/ 93005 w 107433"/>
                <a:gd name="connsiteY3" fmla="*/ 6399 h 50326"/>
                <a:gd name="connsiteX4" fmla="*/ 84104 w 107433"/>
                <a:gd name="connsiteY4" fmla="*/ 4251 h 50326"/>
                <a:gd name="connsiteX5" fmla="*/ 79387 w 107433"/>
                <a:gd name="connsiteY5" fmla="*/ 5979 h 50326"/>
                <a:gd name="connsiteX6" fmla="*/ 71213 w 107433"/>
                <a:gd name="connsiteY6" fmla="*/ 8645 h 50326"/>
                <a:gd name="connsiteX7" fmla="*/ 44897 w 107433"/>
                <a:gd name="connsiteY7" fmla="*/ 4235 h 50326"/>
                <a:gd name="connsiteX8" fmla="*/ 42280 w 107433"/>
                <a:gd name="connsiteY8" fmla="*/ 3282 h 50326"/>
                <a:gd name="connsiteX9" fmla="*/ 17322 w 107433"/>
                <a:gd name="connsiteY9" fmla="*/ 2216 h 50326"/>
                <a:gd name="connsiteX10" fmla="*/ 15464 w 107433"/>
                <a:gd name="connsiteY10" fmla="*/ 3346 h 50326"/>
                <a:gd name="connsiteX11" fmla="*/ 3963 w 107433"/>
                <a:gd name="connsiteY11" fmla="*/ 5995 h 50326"/>
                <a:gd name="connsiteX12" fmla="*/ 1766 w 107433"/>
                <a:gd name="connsiteY12" fmla="*/ 4720 h 50326"/>
                <a:gd name="connsiteX13" fmla="*/ 425 w 107433"/>
                <a:gd name="connsiteY13" fmla="*/ 3960 h 50326"/>
                <a:gd name="connsiteX14" fmla="*/ 215 w 107433"/>
                <a:gd name="connsiteY14" fmla="*/ 8419 h 50326"/>
                <a:gd name="connsiteX15" fmla="*/ 5982 w 107433"/>
                <a:gd name="connsiteY15" fmla="*/ 35025 h 50326"/>
                <a:gd name="connsiteX16" fmla="*/ 7242 w 107433"/>
                <a:gd name="connsiteY16" fmla="*/ 38659 h 50326"/>
                <a:gd name="connsiteX17" fmla="*/ 11087 w 107433"/>
                <a:gd name="connsiteY17" fmla="*/ 40953 h 50326"/>
                <a:gd name="connsiteX18" fmla="*/ 47159 w 107433"/>
                <a:gd name="connsiteY18" fmla="*/ 49757 h 50326"/>
                <a:gd name="connsiteX19" fmla="*/ 95654 w 107433"/>
                <a:gd name="connsiteY19" fmla="*/ 40178 h 50326"/>
                <a:gd name="connsiteX20" fmla="*/ 107220 w 107433"/>
                <a:gd name="connsiteY20" fmla="*/ 24638 h 50326"/>
                <a:gd name="connsiteX21" fmla="*/ 107204 w 107433"/>
                <a:gd name="connsiteY21" fmla="*/ 24638 h 5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7433" h="50326">
                  <a:moveTo>
                    <a:pt x="107204" y="24638"/>
                  </a:moveTo>
                  <a:cubicBezTo>
                    <a:pt x="108270" y="19032"/>
                    <a:pt x="105589" y="11811"/>
                    <a:pt x="99870" y="9986"/>
                  </a:cubicBezTo>
                  <a:cubicBezTo>
                    <a:pt x="99822" y="9986"/>
                    <a:pt x="99773" y="9954"/>
                    <a:pt x="99725" y="9937"/>
                  </a:cubicBezTo>
                  <a:cubicBezTo>
                    <a:pt x="96979" y="8903"/>
                    <a:pt x="94878" y="7579"/>
                    <a:pt x="93005" y="6399"/>
                  </a:cubicBezTo>
                  <a:cubicBezTo>
                    <a:pt x="89628" y="4283"/>
                    <a:pt x="87771" y="3104"/>
                    <a:pt x="84104" y="4251"/>
                  </a:cubicBezTo>
                  <a:cubicBezTo>
                    <a:pt x="82537" y="4735"/>
                    <a:pt x="81002" y="5349"/>
                    <a:pt x="79387" y="5979"/>
                  </a:cubicBezTo>
                  <a:cubicBezTo>
                    <a:pt x="76802" y="6997"/>
                    <a:pt x="74120" y="8063"/>
                    <a:pt x="71213" y="8645"/>
                  </a:cubicBezTo>
                  <a:cubicBezTo>
                    <a:pt x="62085" y="10486"/>
                    <a:pt x="53346" y="7304"/>
                    <a:pt x="44897" y="4235"/>
                  </a:cubicBezTo>
                  <a:lnTo>
                    <a:pt x="42280" y="3282"/>
                  </a:lnTo>
                  <a:cubicBezTo>
                    <a:pt x="35205" y="762"/>
                    <a:pt x="24915" y="-2082"/>
                    <a:pt x="17322" y="2216"/>
                  </a:cubicBezTo>
                  <a:cubicBezTo>
                    <a:pt x="16708" y="2555"/>
                    <a:pt x="16094" y="2959"/>
                    <a:pt x="15464" y="3346"/>
                  </a:cubicBezTo>
                  <a:cubicBezTo>
                    <a:pt x="12282" y="5349"/>
                    <a:pt x="8308" y="7821"/>
                    <a:pt x="3963" y="5995"/>
                  </a:cubicBezTo>
                  <a:cubicBezTo>
                    <a:pt x="3106" y="5640"/>
                    <a:pt x="2396" y="5155"/>
                    <a:pt x="1766" y="4720"/>
                  </a:cubicBezTo>
                  <a:cubicBezTo>
                    <a:pt x="1378" y="4461"/>
                    <a:pt x="635" y="3960"/>
                    <a:pt x="425" y="3960"/>
                  </a:cubicBezTo>
                  <a:cubicBezTo>
                    <a:pt x="150" y="4251"/>
                    <a:pt x="-254" y="6238"/>
                    <a:pt x="215" y="8419"/>
                  </a:cubicBezTo>
                  <a:lnTo>
                    <a:pt x="5982" y="35025"/>
                  </a:lnTo>
                  <a:cubicBezTo>
                    <a:pt x="6273" y="36382"/>
                    <a:pt x="6580" y="37771"/>
                    <a:pt x="7242" y="38659"/>
                  </a:cubicBezTo>
                  <a:cubicBezTo>
                    <a:pt x="8017" y="39661"/>
                    <a:pt x="9503" y="40323"/>
                    <a:pt x="11087" y="40953"/>
                  </a:cubicBezTo>
                  <a:cubicBezTo>
                    <a:pt x="22653" y="45525"/>
                    <a:pt x="34785" y="48497"/>
                    <a:pt x="47159" y="49757"/>
                  </a:cubicBezTo>
                  <a:cubicBezTo>
                    <a:pt x="60955" y="51163"/>
                    <a:pt x="80566" y="50646"/>
                    <a:pt x="95654" y="40178"/>
                  </a:cubicBezTo>
                  <a:cubicBezTo>
                    <a:pt x="102051" y="35736"/>
                    <a:pt x="106154" y="30227"/>
                    <a:pt x="107220" y="24638"/>
                  </a:cubicBezTo>
                  <a:lnTo>
                    <a:pt x="107204" y="2463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4" name="Free-form: Shape 243">
              <a:extLst>
                <a:ext uri="{FF2B5EF4-FFF2-40B4-BE49-F238E27FC236}">
                  <a16:creationId xmlns:a16="http://schemas.microsoft.com/office/drawing/2014/main" id="{9614E265-73A9-7E5D-0EEE-AA3F3602D13D}"/>
                </a:ext>
              </a:extLst>
            </p:cNvPr>
            <p:cNvSpPr/>
            <p:nvPr/>
          </p:nvSpPr>
          <p:spPr>
            <a:xfrm>
              <a:off x="5451394" y="5329006"/>
              <a:ext cx="13908" cy="25472"/>
            </a:xfrm>
            <a:custGeom>
              <a:avLst/>
              <a:gdLst>
                <a:gd name="connsiteX0" fmla="*/ 9373 w 13908"/>
                <a:gd name="connsiteY0" fmla="*/ 501 h 25472"/>
                <a:gd name="connsiteX1" fmla="*/ 6384 w 13908"/>
                <a:gd name="connsiteY1" fmla="*/ 0 h 25472"/>
                <a:gd name="connsiteX2" fmla="*/ 2733 w 13908"/>
                <a:gd name="connsiteY2" fmla="*/ 1551 h 25472"/>
                <a:gd name="connsiteX3" fmla="*/ 2168 w 13908"/>
                <a:gd name="connsiteY3" fmla="*/ 7479 h 25472"/>
                <a:gd name="connsiteX4" fmla="*/ 2313 w 13908"/>
                <a:gd name="connsiteY4" fmla="*/ 13327 h 25472"/>
                <a:gd name="connsiteX5" fmla="*/ 1021 w 13908"/>
                <a:gd name="connsiteY5" fmla="*/ 17915 h 25472"/>
                <a:gd name="connsiteX6" fmla="*/ 52 w 13908"/>
                <a:gd name="connsiteY6" fmla="*/ 22470 h 25472"/>
                <a:gd name="connsiteX7" fmla="*/ 1813 w 13908"/>
                <a:gd name="connsiteY7" fmla="*/ 24716 h 25472"/>
                <a:gd name="connsiteX8" fmla="*/ 6513 w 13908"/>
                <a:gd name="connsiteY8" fmla="*/ 25168 h 25472"/>
                <a:gd name="connsiteX9" fmla="*/ 12894 w 13908"/>
                <a:gd name="connsiteY9" fmla="*/ 17269 h 25472"/>
                <a:gd name="connsiteX10" fmla="*/ 9340 w 13908"/>
                <a:gd name="connsiteY10" fmla="*/ 501 h 25472"/>
                <a:gd name="connsiteX11" fmla="*/ 9373 w 13908"/>
                <a:gd name="connsiteY11" fmla="*/ 501 h 2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08" h="25472">
                  <a:moveTo>
                    <a:pt x="9373" y="501"/>
                  </a:moveTo>
                  <a:cubicBezTo>
                    <a:pt x="8193" y="145"/>
                    <a:pt x="7208" y="0"/>
                    <a:pt x="6384" y="0"/>
                  </a:cubicBezTo>
                  <a:cubicBezTo>
                    <a:pt x="4430" y="0"/>
                    <a:pt x="3396" y="824"/>
                    <a:pt x="2733" y="1551"/>
                  </a:cubicBezTo>
                  <a:cubicBezTo>
                    <a:pt x="1732" y="2681"/>
                    <a:pt x="1845" y="4539"/>
                    <a:pt x="2168" y="7479"/>
                  </a:cubicBezTo>
                  <a:cubicBezTo>
                    <a:pt x="2378" y="9370"/>
                    <a:pt x="2588" y="11324"/>
                    <a:pt x="2313" y="13327"/>
                  </a:cubicBezTo>
                  <a:cubicBezTo>
                    <a:pt x="2087" y="14991"/>
                    <a:pt x="1538" y="16477"/>
                    <a:pt x="1021" y="17915"/>
                  </a:cubicBezTo>
                  <a:cubicBezTo>
                    <a:pt x="375" y="19660"/>
                    <a:pt x="-174" y="21178"/>
                    <a:pt x="52" y="22470"/>
                  </a:cubicBezTo>
                  <a:cubicBezTo>
                    <a:pt x="246" y="23601"/>
                    <a:pt x="1118" y="24312"/>
                    <a:pt x="1813" y="24716"/>
                  </a:cubicBezTo>
                  <a:cubicBezTo>
                    <a:pt x="3234" y="25524"/>
                    <a:pt x="5076" y="25701"/>
                    <a:pt x="6513" y="25168"/>
                  </a:cubicBezTo>
                  <a:cubicBezTo>
                    <a:pt x="10197" y="23795"/>
                    <a:pt x="12103" y="19627"/>
                    <a:pt x="12894" y="17269"/>
                  </a:cubicBezTo>
                  <a:cubicBezTo>
                    <a:pt x="14817" y="11615"/>
                    <a:pt x="14203" y="3893"/>
                    <a:pt x="9340" y="501"/>
                  </a:cubicBezTo>
                  <a:lnTo>
                    <a:pt x="9373" y="50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5" name="Free-form: Shape 244">
              <a:extLst>
                <a:ext uri="{FF2B5EF4-FFF2-40B4-BE49-F238E27FC236}">
                  <a16:creationId xmlns:a16="http://schemas.microsoft.com/office/drawing/2014/main" id="{3D001243-DF90-69F6-2288-12F68D879750}"/>
                </a:ext>
              </a:extLst>
            </p:cNvPr>
            <p:cNvSpPr/>
            <p:nvPr/>
          </p:nvSpPr>
          <p:spPr>
            <a:xfrm>
              <a:off x="5907529" y="5396530"/>
              <a:ext cx="39611" cy="56441"/>
            </a:xfrm>
            <a:custGeom>
              <a:avLst/>
              <a:gdLst>
                <a:gd name="connsiteX0" fmla="*/ 34149 w 39611"/>
                <a:gd name="connsiteY0" fmla="*/ 34683 h 56441"/>
                <a:gd name="connsiteX1" fmla="*/ 28915 w 39611"/>
                <a:gd name="connsiteY1" fmla="*/ 25814 h 56441"/>
                <a:gd name="connsiteX2" fmla="*/ 28867 w 39611"/>
                <a:gd name="connsiteY2" fmla="*/ 25685 h 56441"/>
                <a:gd name="connsiteX3" fmla="*/ 23714 w 39611"/>
                <a:gd name="connsiteY3" fmla="*/ 11001 h 56441"/>
                <a:gd name="connsiteX4" fmla="*/ 20854 w 39611"/>
                <a:gd name="connsiteY4" fmla="*/ 4652 h 56441"/>
                <a:gd name="connsiteX5" fmla="*/ 12034 w 39611"/>
                <a:gd name="connsiteY5" fmla="*/ 32 h 56441"/>
                <a:gd name="connsiteX6" fmla="*/ 11129 w 39611"/>
                <a:gd name="connsiteY6" fmla="*/ 0 h 56441"/>
                <a:gd name="connsiteX7" fmla="*/ 2681 w 39611"/>
                <a:gd name="connsiteY7" fmla="*/ 3441 h 56441"/>
                <a:gd name="connsiteX8" fmla="*/ 177 w 39611"/>
                <a:gd name="connsiteY8" fmla="*/ 13069 h 56441"/>
                <a:gd name="connsiteX9" fmla="*/ 5605 w 39611"/>
                <a:gd name="connsiteY9" fmla="*/ 21404 h 56441"/>
                <a:gd name="connsiteX10" fmla="*/ 8222 w 39611"/>
                <a:gd name="connsiteY10" fmla="*/ 22648 h 56441"/>
                <a:gd name="connsiteX11" fmla="*/ 16040 w 39611"/>
                <a:gd name="connsiteY11" fmla="*/ 28900 h 56441"/>
                <a:gd name="connsiteX12" fmla="*/ 16896 w 39611"/>
                <a:gd name="connsiteY12" fmla="*/ 35087 h 56441"/>
                <a:gd name="connsiteX13" fmla="*/ 16896 w 39611"/>
                <a:gd name="connsiteY13" fmla="*/ 36847 h 56441"/>
                <a:gd name="connsiteX14" fmla="*/ 22809 w 39611"/>
                <a:gd name="connsiteY14" fmla="*/ 47946 h 56441"/>
                <a:gd name="connsiteX15" fmla="*/ 35054 w 39611"/>
                <a:gd name="connsiteY15" fmla="*/ 55554 h 56441"/>
                <a:gd name="connsiteX16" fmla="*/ 37639 w 39611"/>
                <a:gd name="connsiteY16" fmla="*/ 56410 h 56441"/>
                <a:gd name="connsiteX17" fmla="*/ 38882 w 39611"/>
                <a:gd name="connsiteY17" fmla="*/ 54181 h 56441"/>
                <a:gd name="connsiteX18" fmla="*/ 36427 w 39611"/>
                <a:gd name="connsiteY18" fmla="*/ 38075 h 56441"/>
                <a:gd name="connsiteX19" fmla="*/ 34101 w 39611"/>
                <a:gd name="connsiteY19" fmla="*/ 34715 h 56441"/>
                <a:gd name="connsiteX20" fmla="*/ 34149 w 39611"/>
                <a:gd name="connsiteY20" fmla="*/ 34683 h 56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9611" h="56441">
                  <a:moveTo>
                    <a:pt x="34149" y="34683"/>
                  </a:moveTo>
                  <a:cubicBezTo>
                    <a:pt x="32211" y="31969"/>
                    <a:pt x="30385" y="29401"/>
                    <a:pt x="28915" y="25814"/>
                  </a:cubicBezTo>
                  <a:cubicBezTo>
                    <a:pt x="28899" y="25766"/>
                    <a:pt x="28883" y="25717"/>
                    <a:pt x="28867" y="25685"/>
                  </a:cubicBezTo>
                  <a:lnTo>
                    <a:pt x="23714" y="11001"/>
                  </a:lnTo>
                  <a:cubicBezTo>
                    <a:pt x="22922" y="8772"/>
                    <a:pt x="22114" y="6462"/>
                    <a:pt x="20854" y="4652"/>
                  </a:cubicBezTo>
                  <a:cubicBezTo>
                    <a:pt x="19029" y="2003"/>
                    <a:pt x="15733" y="291"/>
                    <a:pt x="12034" y="32"/>
                  </a:cubicBezTo>
                  <a:cubicBezTo>
                    <a:pt x="11727" y="16"/>
                    <a:pt x="11436" y="0"/>
                    <a:pt x="11129" y="0"/>
                  </a:cubicBezTo>
                  <a:cubicBezTo>
                    <a:pt x="7769" y="0"/>
                    <a:pt x="4668" y="1260"/>
                    <a:pt x="2681" y="3441"/>
                  </a:cubicBezTo>
                  <a:cubicBezTo>
                    <a:pt x="516" y="5815"/>
                    <a:pt x="-421" y="9418"/>
                    <a:pt x="177" y="13069"/>
                  </a:cubicBezTo>
                  <a:cubicBezTo>
                    <a:pt x="775" y="16719"/>
                    <a:pt x="2810" y="19837"/>
                    <a:pt x="5605" y="21404"/>
                  </a:cubicBezTo>
                  <a:cubicBezTo>
                    <a:pt x="6429" y="21857"/>
                    <a:pt x="7317" y="22244"/>
                    <a:pt x="8222" y="22648"/>
                  </a:cubicBezTo>
                  <a:cubicBezTo>
                    <a:pt x="11146" y="23940"/>
                    <a:pt x="14457" y="25394"/>
                    <a:pt x="16040" y="28900"/>
                  </a:cubicBezTo>
                  <a:cubicBezTo>
                    <a:pt x="17010" y="31032"/>
                    <a:pt x="16945" y="33180"/>
                    <a:pt x="16896" y="35087"/>
                  </a:cubicBezTo>
                  <a:cubicBezTo>
                    <a:pt x="16896" y="35668"/>
                    <a:pt x="16864" y="36266"/>
                    <a:pt x="16896" y="36847"/>
                  </a:cubicBezTo>
                  <a:cubicBezTo>
                    <a:pt x="17042" y="40628"/>
                    <a:pt x="19207" y="44682"/>
                    <a:pt x="22809" y="47946"/>
                  </a:cubicBezTo>
                  <a:cubicBezTo>
                    <a:pt x="26314" y="51112"/>
                    <a:pt x="30757" y="53373"/>
                    <a:pt x="35054" y="55554"/>
                  </a:cubicBezTo>
                  <a:cubicBezTo>
                    <a:pt x="35619" y="55845"/>
                    <a:pt x="37089" y="56604"/>
                    <a:pt x="37639" y="56410"/>
                  </a:cubicBezTo>
                  <a:cubicBezTo>
                    <a:pt x="37881" y="56330"/>
                    <a:pt x="38430" y="55764"/>
                    <a:pt x="38882" y="54181"/>
                  </a:cubicBezTo>
                  <a:cubicBezTo>
                    <a:pt x="40417" y="48786"/>
                    <a:pt x="39496" y="42760"/>
                    <a:pt x="36427" y="38075"/>
                  </a:cubicBezTo>
                  <a:cubicBezTo>
                    <a:pt x="35635" y="36864"/>
                    <a:pt x="34860" y="35781"/>
                    <a:pt x="34101" y="34715"/>
                  </a:cubicBezTo>
                  <a:lnTo>
                    <a:pt x="34149" y="3468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6" name="Free-form: Shape 245">
              <a:extLst>
                <a:ext uri="{FF2B5EF4-FFF2-40B4-BE49-F238E27FC236}">
                  <a16:creationId xmlns:a16="http://schemas.microsoft.com/office/drawing/2014/main" id="{2103AF92-1561-8A83-0849-0131D5EB7DF3}"/>
                </a:ext>
              </a:extLst>
            </p:cNvPr>
            <p:cNvSpPr/>
            <p:nvPr/>
          </p:nvSpPr>
          <p:spPr>
            <a:xfrm>
              <a:off x="5212024" y="2727498"/>
              <a:ext cx="5682" cy="11485"/>
            </a:xfrm>
            <a:custGeom>
              <a:avLst/>
              <a:gdLst>
                <a:gd name="connsiteX0" fmla="*/ 5526 w 5682"/>
                <a:gd name="connsiteY0" fmla="*/ 1292 h 11485"/>
                <a:gd name="connsiteX1" fmla="*/ 1940 w 5682"/>
                <a:gd name="connsiteY1" fmla="*/ 0 h 11485"/>
                <a:gd name="connsiteX2" fmla="*/ 1035 w 5682"/>
                <a:gd name="connsiteY2" fmla="*/ 11486 h 11485"/>
                <a:gd name="connsiteX3" fmla="*/ 5526 w 5682"/>
                <a:gd name="connsiteY3" fmla="*/ 1292 h 1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82" h="11485">
                  <a:moveTo>
                    <a:pt x="5526" y="1292"/>
                  </a:moveTo>
                  <a:cubicBezTo>
                    <a:pt x="5251" y="743"/>
                    <a:pt x="4169" y="178"/>
                    <a:pt x="1940" y="0"/>
                  </a:cubicBezTo>
                  <a:cubicBezTo>
                    <a:pt x="-257" y="3295"/>
                    <a:pt x="-629" y="7899"/>
                    <a:pt x="1035" y="11486"/>
                  </a:cubicBezTo>
                  <a:cubicBezTo>
                    <a:pt x="6317" y="4232"/>
                    <a:pt x="5800" y="1858"/>
                    <a:pt x="5526" y="129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7" name="Free-form: Shape 246">
              <a:extLst>
                <a:ext uri="{FF2B5EF4-FFF2-40B4-BE49-F238E27FC236}">
                  <a16:creationId xmlns:a16="http://schemas.microsoft.com/office/drawing/2014/main" id="{55D102F9-3616-A251-771E-B4EEB82BB68A}"/>
                </a:ext>
              </a:extLst>
            </p:cNvPr>
            <p:cNvSpPr/>
            <p:nvPr/>
          </p:nvSpPr>
          <p:spPr>
            <a:xfrm>
              <a:off x="5447902" y="5485475"/>
              <a:ext cx="21691" cy="24019"/>
            </a:xfrm>
            <a:custGeom>
              <a:avLst/>
              <a:gdLst>
                <a:gd name="connsiteX0" fmla="*/ 17938 w 21691"/>
                <a:gd name="connsiteY0" fmla="*/ 32 h 24019"/>
                <a:gd name="connsiteX1" fmla="*/ 17130 w 21691"/>
                <a:gd name="connsiteY1" fmla="*/ 0 h 24019"/>
                <a:gd name="connsiteX2" fmla="*/ 9618 w 21691"/>
                <a:gd name="connsiteY2" fmla="*/ 3328 h 24019"/>
                <a:gd name="connsiteX3" fmla="*/ 9150 w 21691"/>
                <a:gd name="connsiteY3" fmla="*/ 3796 h 24019"/>
                <a:gd name="connsiteX4" fmla="*/ 3205 w 21691"/>
                <a:gd name="connsiteY4" fmla="*/ 11518 h 24019"/>
                <a:gd name="connsiteX5" fmla="*/ 55 w 21691"/>
                <a:gd name="connsiteY5" fmla="*/ 18691 h 24019"/>
                <a:gd name="connsiteX6" fmla="*/ 1880 w 21691"/>
                <a:gd name="connsiteY6" fmla="*/ 23618 h 24019"/>
                <a:gd name="connsiteX7" fmla="*/ 7244 w 21691"/>
                <a:gd name="connsiteY7" fmla="*/ 23020 h 24019"/>
                <a:gd name="connsiteX8" fmla="*/ 18697 w 21691"/>
                <a:gd name="connsiteY8" fmla="*/ 10290 h 24019"/>
                <a:gd name="connsiteX9" fmla="*/ 21508 w 21691"/>
                <a:gd name="connsiteY9" fmla="*/ 1244 h 24019"/>
                <a:gd name="connsiteX10" fmla="*/ 17938 w 21691"/>
                <a:gd name="connsiteY10" fmla="*/ 32 h 2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91" h="24019">
                  <a:moveTo>
                    <a:pt x="17938" y="32"/>
                  </a:moveTo>
                  <a:cubicBezTo>
                    <a:pt x="17679" y="16"/>
                    <a:pt x="17405" y="0"/>
                    <a:pt x="17130" y="0"/>
                  </a:cubicBezTo>
                  <a:cubicBezTo>
                    <a:pt x="14642" y="0"/>
                    <a:pt x="11589" y="856"/>
                    <a:pt x="9618" y="3328"/>
                  </a:cubicBezTo>
                  <a:cubicBezTo>
                    <a:pt x="9473" y="3506"/>
                    <a:pt x="9328" y="3651"/>
                    <a:pt x="9150" y="3796"/>
                  </a:cubicBezTo>
                  <a:cubicBezTo>
                    <a:pt x="6646" y="5767"/>
                    <a:pt x="4820" y="8821"/>
                    <a:pt x="3205" y="11518"/>
                  </a:cubicBezTo>
                  <a:cubicBezTo>
                    <a:pt x="1897" y="13715"/>
                    <a:pt x="394" y="16203"/>
                    <a:pt x="55" y="18691"/>
                  </a:cubicBezTo>
                  <a:cubicBezTo>
                    <a:pt x="-187" y="20500"/>
                    <a:pt x="362" y="22778"/>
                    <a:pt x="1880" y="23618"/>
                  </a:cubicBezTo>
                  <a:cubicBezTo>
                    <a:pt x="3140" y="24312"/>
                    <a:pt x="5127" y="24102"/>
                    <a:pt x="7244" y="23020"/>
                  </a:cubicBezTo>
                  <a:cubicBezTo>
                    <a:pt x="12203" y="20500"/>
                    <a:pt x="15611" y="15346"/>
                    <a:pt x="18697" y="10290"/>
                  </a:cubicBezTo>
                  <a:cubicBezTo>
                    <a:pt x="20458" y="7383"/>
                    <a:pt x="22283" y="4055"/>
                    <a:pt x="21508" y="1244"/>
                  </a:cubicBezTo>
                  <a:cubicBezTo>
                    <a:pt x="21378" y="1018"/>
                    <a:pt x="20232" y="210"/>
                    <a:pt x="17938" y="3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8" name="Free-form: Shape 247">
              <a:extLst>
                <a:ext uri="{FF2B5EF4-FFF2-40B4-BE49-F238E27FC236}">
                  <a16:creationId xmlns:a16="http://schemas.microsoft.com/office/drawing/2014/main" id="{0FB8BAE9-6300-A084-A626-53AB552D7A67}"/>
                </a:ext>
              </a:extLst>
            </p:cNvPr>
            <p:cNvSpPr/>
            <p:nvPr/>
          </p:nvSpPr>
          <p:spPr>
            <a:xfrm>
              <a:off x="5470771" y="5270464"/>
              <a:ext cx="24674" cy="40141"/>
            </a:xfrm>
            <a:custGeom>
              <a:avLst/>
              <a:gdLst>
                <a:gd name="connsiteX0" fmla="*/ 1969 w 24674"/>
                <a:gd name="connsiteY0" fmla="*/ 36943 h 40141"/>
                <a:gd name="connsiteX1" fmla="*/ 2809 w 24674"/>
                <a:gd name="connsiteY1" fmla="*/ 39948 h 40141"/>
                <a:gd name="connsiteX2" fmla="*/ 5765 w 24674"/>
                <a:gd name="connsiteY2" fmla="*/ 36863 h 40141"/>
                <a:gd name="connsiteX3" fmla="*/ 10869 w 24674"/>
                <a:gd name="connsiteY3" fmla="*/ 33939 h 40141"/>
                <a:gd name="connsiteX4" fmla="*/ 21790 w 24674"/>
                <a:gd name="connsiteY4" fmla="*/ 39350 h 40141"/>
                <a:gd name="connsiteX5" fmla="*/ 23032 w 24674"/>
                <a:gd name="connsiteY5" fmla="*/ 40142 h 40141"/>
                <a:gd name="connsiteX6" fmla="*/ 23534 w 24674"/>
                <a:gd name="connsiteY6" fmla="*/ 37622 h 40141"/>
                <a:gd name="connsiteX7" fmla="*/ 24617 w 24674"/>
                <a:gd name="connsiteY7" fmla="*/ 11759 h 40141"/>
                <a:gd name="connsiteX8" fmla="*/ 23064 w 24674"/>
                <a:gd name="connsiteY8" fmla="*/ 2438 h 40141"/>
                <a:gd name="connsiteX9" fmla="*/ 13469 w 24674"/>
                <a:gd name="connsiteY9" fmla="*/ 677 h 40141"/>
                <a:gd name="connsiteX10" fmla="*/ 3229 w 24674"/>
                <a:gd name="connsiteY10" fmla="*/ 8334 h 40141"/>
                <a:gd name="connsiteX11" fmla="*/ 319 w 24674"/>
                <a:gd name="connsiteY11" fmla="*/ 12017 h 40141"/>
                <a:gd name="connsiteX12" fmla="*/ 141 w 24674"/>
                <a:gd name="connsiteY12" fmla="*/ 16654 h 40141"/>
                <a:gd name="connsiteX13" fmla="*/ 1951 w 24674"/>
                <a:gd name="connsiteY13" fmla="*/ 36959 h 40141"/>
                <a:gd name="connsiteX14" fmla="*/ 1969 w 24674"/>
                <a:gd name="connsiteY14" fmla="*/ 36943 h 4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674" h="40141">
                  <a:moveTo>
                    <a:pt x="1969" y="36943"/>
                  </a:moveTo>
                  <a:cubicBezTo>
                    <a:pt x="2211" y="39673"/>
                    <a:pt x="2776" y="39948"/>
                    <a:pt x="2809" y="39948"/>
                  </a:cubicBezTo>
                  <a:cubicBezTo>
                    <a:pt x="3002" y="40029"/>
                    <a:pt x="4166" y="39479"/>
                    <a:pt x="5765" y="36863"/>
                  </a:cubicBezTo>
                  <a:cubicBezTo>
                    <a:pt x="6799" y="35183"/>
                    <a:pt x="8656" y="34116"/>
                    <a:pt x="10869" y="33939"/>
                  </a:cubicBezTo>
                  <a:cubicBezTo>
                    <a:pt x="14520" y="33648"/>
                    <a:pt x="18478" y="35603"/>
                    <a:pt x="21790" y="39350"/>
                  </a:cubicBezTo>
                  <a:cubicBezTo>
                    <a:pt x="22468" y="39867"/>
                    <a:pt x="22838" y="40061"/>
                    <a:pt x="23032" y="40142"/>
                  </a:cubicBezTo>
                  <a:cubicBezTo>
                    <a:pt x="23177" y="39899"/>
                    <a:pt x="23470" y="39189"/>
                    <a:pt x="23534" y="37622"/>
                  </a:cubicBezTo>
                  <a:lnTo>
                    <a:pt x="24617" y="11759"/>
                  </a:lnTo>
                  <a:cubicBezTo>
                    <a:pt x="24762" y="8108"/>
                    <a:pt x="24760" y="4651"/>
                    <a:pt x="23064" y="2438"/>
                  </a:cubicBezTo>
                  <a:cubicBezTo>
                    <a:pt x="20964" y="-276"/>
                    <a:pt x="16651" y="-502"/>
                    <a:pt x="13469" y="677"/>
                  </a:cubicBezTo>
                  <a:cubicBezTo>
                    <a:pt x="9576" y="2115"/>
                    <a:pt x="6346" y="5265"/>
                    <a:pt x="3229" y="8334"/>
                  </a:cubicBezTo>
                  <a:cubicBezTo>
                    <a:pt x="2033" y="9513"/>
                    <a:pt x="804" y="10725"/>
                    <a:pt x="319" y="12017"/>
                  </a:cubicBezTo>
                  <a:cubicBezTo>
                    <a:pt x="-149" y="13310"/>
                    <a:pt x="-4" y="15006"/>
                    <a:pt x="141" y="16654"/>
                  </a:cubicBezTo>
                  <a:lnTo>
                    <a:pt x="1951" y="36959"/>
                  </a:lnTo>
                  <a:lnTo>
                    <a:pt x="1969" y="369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9" name="Free-form: Shape 248">
              <a:extLst>
                <a:ext uri="{FF2B5EF4-FFF2-40B4-BE49-F238E27FC236}">
                  <a16:creationId xmlns:a16="http://schemas.microsoft.com/office/drawing/2014/main" id="{0353954C-948A-54BF-F1C8-79E101F10633}"/>
                </a:ext>
              </a:extLst>
            </p:cNvPr>
            <p:cNvSpPr/>
            <p:nvPr/>
          </p:nvSpPr>
          <p:spPr>
            <a:xfrm>
              <a:off x="5363490" y="5264292"/>
              <a:ext cx="83112" cy="42281"/>
            </a:xfrm>
            <a:custGeom>
              <a:avLst/>
              <a:gdLst>
                <a:gd name="connsiteX0" fmla="*/ 31109 w 83112"/>
                <a:gd name="connsiteY0" fmla="*/ 6139 h 42281"/>
                <a:gd name="connsiteX1" fmla="*/ 28105 w 83112"/>
                <a:gd name="connsiteY1" fmla="*/ 533 h 42281"/>
                <a:gd name="connsiteX2" fmla="*/ 26279 w 83112"/>
                <a:gd name="connsiteY2" fmla="*/ 0 h 42281"/>
                <a:gd name="connsiteX3" fmla="*/ 25229 w 83112"/>
                <a:gd name="connsiteY3" fmla="*/ 129 h 42281"/>
                <a:gd name="connsiteX4" fmla="*/ 19672 w 83112"/>
                <a:gd name="connsiteY4" fmla="*/ 4410 h 42281"/>
                <a:gd name="connsiteX5" fmla="*/ 17007 w 83112"/>
                <a:gd name="connsiteY5" fmla="*/ 10419 h 42281"/>
                <a:gd name="connsiteX6" fmla="*/ 13420 w 83112"/>
                <a:gd name="connsiteY6" fmla="*/ 18125 h 42281"/>
                <a:gd name="connsiteX7" fmla="*/ 7120 w 83112"/>
                <a:gd name="connsiteY7" fmla="*/ 24910 h 42281"/>
                <a:gd name="connsiteX8" fmla="*/ 3502 w 83112"/>
                <a:gd name="connsiteY8" fmla="*/ 28399 h 42281"/>
                <a:gd name="connsiteX9" fmla="*/ 400 w 83112"/>
                <a:gd name="connsiteY9" fmla="*/ 37914 h 42281"/>
                <a:gd name="connsiteX10" fmla="*/ 12370 w 83112"/>
                <a:gd name="connsiteY10" fmla="*/ 42243 h 42281"/>
                <a:gd name="connsiteX11" fmla="*/ 35374 w 83112"/>
                <a:gd name="connsiteY11" fmla="*/ 36767 h 42281"/>
                <a:gd name="connsiteX12" fmla="*/ 42094 w 83112"/>
                <a:gd name="connsiteY12" fmla="*/ 33520 h 42281"/>
                <a:gd name="connsiteX13" fmla="*/ 55486 w 83112"/>
                <a:gd name="connsiteY13" fmla="*/ 27801 h 42281"/>
                <a:gd name="connsiteX14" fmla="*/ 63838 w 83112"/>
                <a:gd name="connsiteY14" fmla="*/ 26041 h 42281"/>
                <a:gd name="connsiteX15" fmla="*/ 72561 w 83112"/>
                <a:gd name="connsiteY15" fmla="*/ 24118 h 42281"/>
                <a:gd name="connsiteX16" fmla="*/ 82948 w 83112"/>
                <a:gd name="connsiteY16" fmla="*/ 14846 h 42281"/>
                <a:gd name="connsiteX17" fmla="*/ 82819 w 83112"/>
                <a:gd name="connsiteY17" fmla="*/ 11874 h 42281"/>
                <a:gd name="connsiteX18" fmla="*/ 77843 w 83112"/>
                <a:gd name="connsiteY18" fmla="*/ 9127 h 42281"/>
                <a:gd name="connsiteX19" fmla="*/ 60575 w 83112"/>
                <a:gd name="connsiteY19" fmla="*/ 9951 h 42281"/>
                <a:gd name="connsiteX20" fmla="*/ 32289 w 83112"/>
                <a:gd name="connsiteY20" fmla="*/ 7689 h 42281"/>
                <a:gd name="connsiteX21" fmla="*/ 31093 w 83112"/>
                <a:gd name="connsiteY21" fmla="*/ 6106 h 42281"/>
                <a:gd name="connsiteX22" fmla="*/ 31109 w 83112"/>
                <a:gd name="connsiteY22" fmla="*/ 6139 h 4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3112" h="42281">
                  <a:moveTo>
                    <a:pt x="31109" y="6139"/>
                  </a:moveTo>
                  <a:cubicBezTo>
                    <a:pt x="30366" y="3748"/>
                    <a:pt x="29591" y="1518"/>
                    <a:pt x="28105" y="533"/>
                  </a:cubicBezTo>
                  <a:cubicBezTo>
                    <a:pt x="27572" y="178"/>
                    <a:pt x="26958" y="0"/>
                    <a:pt x="26279" y="0"/>
                  </a:cubicBezTo>
                  <a:cubicBezTo>
                    <a:pt x="25956" y="0"/>
                    <a:pt x="25601" y="49"/>
                    <a:pt x="25229" y="129"/>
                  </a:cubicBezTo>
                  <a:cubicBezTo>
                    <a:pt x="23178" y="598"/>
                    <a:pt x="20948" y="2310"/>
                    <a:pt x="19672" y="4410"/>
                  </a:cubicBezTo>
                  <a:cubicBezTo>
                    <a:pt x="18590" y="6203"/>
                    <a:pt x="17814" y="8255"/>
                    <a:pt x="17007" y="10419"/>
                  </a:cubicBezTo>
                  <a:cubicBezTo>
                    <a:pt x="16037" y="12988"/>
                    <a:pt x="15052" y="15653"/>
                    <a:pt x="13420" y="18125"/>
                  </a:cubicBezTo>
                  <a:cubicBezTo>
                    <a:pt x="11644" y="20807"/>
                    <a:pt x="9350" y="22907"/>
                    <a:pt x="7120" y="24910"/>
                  </a:cubicBezTo>
                  <a:cubicBezTo>
                    <a:pt x="5828" y="26089"/>
                    <a:pt x="4600" y="27204"/>
                    <a:pt x="3502" y="28399"/>
                  </a:cubicBezTo>
                  <a:cubicBezTo>
                    <a:pt x="1159" y="30967"/>
                    <a:pt x="-892" y="34829"/>
                    <a:pt x="400" y="37914"/>
                  </a:cubicBezTo>
                  <a:cubicBezTo>
                    <a:pt x="2306" y="42437"/>
                    <a:pt x="10044" y="42372"/>
                    <a:pt x="12370" y="42243"/>
                  </a:cubicBezTo>
                  <a:cubicBezTo>
                    <a:pt x="20335" y="41807"/>
                    <a:pt x="28072" y="39965"/>
                    <a:pt x="35374" y="36767"/>
                  </a:cubicBezTo>
                  <a:cubicBezTo>
                    <a:pt x="37619" y="35781"/>
                    <a:pt x="39897" y="34635"/>
                    <a:pt x="42094" y="33520"/>
                  </a:cubicBezTo>
                  <a:cubicBezTo>
                    <a:pt x="46327" y="31388"/>
                    <a:pt x="50721" y="29175"/>
                    <a:pt x="55486" y="27801"/>
                  </a:cubicBezTo>
                  <a:cubicBezTo>
                    <a:pt x="58265" y="26994"/>
                    <a:pt x="61092" y="26509"/>
                    <a:pt x="63838" y="26041"/>
                  </a:cubicBezTo>
                  <a:cubicBezTo>
                    <a:pt x="66907" y="25508"/>
                    <a:pt x="69799" y="25007"/>
                    <a:pt x="72561" y="24118"/>
                  </a:cubicBezTo>
                  <a:cubicBezTo>
                    <a:pt x="78167" y="22309"/>
                    <a:pt x="82060" y="18836"/>
                    <a:pt x="82948" y="14846"/>
                  </a:cubicBezTo>
                  <a:cubicBezTo>
                    <a:pt x="83207" y="13683"/>
                    <a:pt x="83158" y="12633"/>
                    <a:pt x="82819" y="11874"/>
                  </a:cubicBezTo>
                  <a:cubicBezTo>
                    <a:pt x="81947" y="9999"/>
                    <a:pt x="79039" y="9337"/>
                    <a:pt x="77843" y="9127"/>
                  </a:cubicBezTo>
                  <a:cubicBezTo>
                    <a:pt x="72981" y="8303"/>
                    <a:pt x="66956" y="9111"/>
                    <a:pt x="60575" y="9951"/>
                  </a:cubicBezTo>
                  <a:cubicBezTo>
                    <a:pt x="50462" y="11292"/>
                    <a:pt x="39994" y="12681"/>
                    <a:pt x="32289" y="7689"/>
                  </a:cubicBezTo>
                  <a:cubicBezTo>
                    <a:pt x="31723" y="7318"/>
                    <a:pt x="31287" y="6752"/>
                    <a:pt x="31093" y="6106"/>
                  </a:cubicBezTo>
                  <a:lnTo>
                    <a:pt x="31109" y="613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0" name="Free-form: Shape 249">
              <a:extLst>
                <a:ext uri="{FF2B5EF4-FFF2-40B4-BE49-F238E27FC236}">
                  <a16:creationId xmlns:a16="http://schemas.microsoft.com/office/drawing/2014/main" id="{9948C0A4-98D6-C23F-4471-0D79D1F6414F}"/>
                </a:ext>
              </a:extLst>
            </p:cNvPr>
            <p:cNvSpPr/>
            <p:nvPr/>
          </p:nvSpPr>
          <p:spPr>
            <a:xfrm>
              <a:off x="5155379" y="3092811"/>
              <a:ext cx="40310" cy="23746"/>
            </a:xfrm>
            <a:custGeom>
              <a:avLst/>
              <a:gdLst>
                <a:gd name="connsiteX0" fmla="*/ 34160 w 40310"/>
                <a:gd name="connsiteY0" fmla="*/ 0 h 23746"/>
                <a:gd name="connsiteX1" fmla="*/ 27536 w 40310"/>
                <a:gd name="connsiteY1" fmla="*/ 2843 h 23746"/>
                <a:gd name="connsiteX2" fmla="*/ 3273 w 40310"/>
                <a:gd name="connsiteY2" fmla="*/ 18367 h 23746"/>
                <a:gd name="connsiteX3" fmla="*/ 10 w 40310"/>
                <a:gd name="connsiteY3" fmla="*/ 21889 h 23746"/>
                <a:gd name="connsiteX4" fmla="*/ 3224 w 40310"/>
                <a:gd name="connsiteY4" fmla="*/ 23747 h 23746"/>
                <a:gd name="connsiteX5" fmla="*/ 15986 w 40310"/>
                <a:gd name="connsiteY5" fmla="*/ 21420 h 23746"/>
                <a:gd name="connsiteX6" fmla="*/ 24499 w 40310"/>
                <a:gd name="connsiteY6" fmla="*/ 19579 h 23746"/>
                <a:gd name="connsiteX7" fmla="*/ 35775 w 40310"/>
                <a:gd name="connsiteY7" fmla="*/ 15427 h 23746"/>
                <a:gd name="connsiteX8" fmla="*/ 40266 w 40310"/>
                <a:gd name="connsiteY8" fmla="*/ 6090 h 23746"/>
                <a:gd name="connsiteX9" fmla="*/ 34224 w 40310"/>
                <a:gd name="connsiteY9" fmla="*/ 16 h 23746"/>
                <a:gd name="connsiteX10" fmla="*/ 34160 w 40310"/>
                <a:gd name="connsiteY10" fmla="*/ 16 h 23746"/>
                <a:gd name="connsiteX11" fmla="*/ 34160 w 40310"/>
                <a:gd name="connsiteY11" fmla="*/ 0 h 2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310" h="23746">
                  <a:moveTo>
                    <a:pt x="34160" y="0"/>
                  </a:moveTo>
                  <a:cubicBezTo>
                    <a:pt x="32092" y="32"/>
                    <a:pt x="30024" y="1244"/>
                    <a:pt x="27536" y="2843"/>
                  </a:cubicBezTo>
                  <a:lnTo>
                    <a:pt x="3273" y="18367"/>
                  </a:lnTo>
                  <a:cubicBezTo>
                    <a:pt x="123" y="20387"/>
                    <a:pt x="-55" y="21501"/>
                    <a:pt x="10" y="21889"/>
                  </a:cubicBezTo>
                  <a:cubicBezTo>
                    <a:pt x="139" y="22616"/>
                    <a:pt x="1463" y="23375"/>
                    <a:pt x="3224" y="23747"/>
                  </a:cubicBezTo>
                  <a:cubicBezTo>
                    <a:pt x="7117" y="23698"/>
                    <a:pt x="11624" y="22535"/>
                    <a:pt x="15986" y="21420"/>
                  </a:cubicBezTo>
                  <a:cubicBezTo>
                    <a:pt x="19039" y="20645"/>
                    <a:pt x="21931" y="19902"/>
                    <a:pt x="24499" y="19579"/>
                  </a:cubicBezTo>
                  <a:cubicBezTo>
                    <a:pt x="29265" y="18981"/>
                    <a:pt x="33061" y="17576"/>
                    <a:pt x="35775" y="15427"/>
                  </a:cubicBezTo>
                  <a:cubicBezTo>
                    <a:pt x="38844" y="13004"/>
                    <a:pt x="40621" y="9337"/>
                    <a:pt x="40266" y="6090"/>
                  </a:cubicBezTo>
                  <a:cubicBezTo>
                    <a:pt x="39910" y="2827"/>
                    <a:pt x="37100" y="16"/>
                    <a:pt x="34224" y="16"/>
                  </a:cubicBezTo>
                  <a:cubicBezTo>
                    <a:pt x="34208" y="16"/>
                    <a:pt x="34176" y="16"/>
                    <a:pt x="34160" y="16"/>
                  </a:cubicBezTo>
                  <a:lnTo>
                    <a:pt x="34160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1" name="Free-form: Shape 250">
              <a:extLst>
                <a:ext uri="{FF2B5EF4-FFF2-40B4-BE49-F238E27FC236}">
                  <a16:creationId xmlns:a16="http://schemas.microsoft.com/office/drawing/2014/main" id="{A1145DDD-7AB4-6A94-CBC3-22F0CA63D6DD}"/>
                </a:ext>
              </a:extLst>
            </p:cNvPr>
            <p:cNvSpPr/>
            <p:nvPr/>
          </p:nvSpPr>
          <p:spPr>
            <a:xfrm>
              <a:off x="5619407" y="5467916"/>
              <a:ext cx="19822" cy="14557"/>
            </a:xfrm>
            <a:custGeom>
              <a:avLst/>
              <a:gdLst>
                <a:gd name="connsiteX0" fmla="*/ 4824 w 19822"/>
                <a:gd name="connsiteY0" fmla="*/ 14070 h 14557"/>
                <a:gd name="connsiteX1" fmla="*/ 15470 w 19822"/>
                <a:gd name="connsiteY1" fmla="*/ 12019 h 14557"/>
                <a:gd name="connsiteX2" fmla="*/ 19476 w 19822"/>
                <a:gd name="connsiteY2" fmla="*/ 7221 h 14557"/>
                <a:gd name="connsiteX3" fmla="*/ 18878 w 19822"/>
                <a:gd name="connsiteY3" fmla="*/ 1195 h 14557"/>
                <a:gd name="connsiteX4" fmla="*/ 15421 w 19822"/>
                <a:gd name="connsiteY4" fmla="*/ 0 h 14557"/>
                <a:gd name="connsiteX5" fmla="*/ 13822 w 19822"/>
                <a:gd name="connsiteY5" fmla="*/ 113 h 14557"/>
                <a:gd name="connsiteX6" fmla="*/ 13709 w 19822"/>
                <a:gd name="connsiteY6" fmla="*/ 113 h 14557"/>
                <a:gd name="connsiteX7" fmla="*/ 139 w 19822"/>
                <a:gd name="connsiteY7" fmla="*/ 6623 h 14557"/>
                <a:gd name="connsiteX8" fmla="*/ 4824 w 19822"/>
                <a:gd name="connsiteY8" fmla="*/ 14070 h 1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22" h="14557">
                  <a:moveTo>
                    <a:pt x="4824" y="14070"/>
                  </a:moveTo>
                  <a:cubicBezTo>
                    <a:pt x="7958" y="15169"/>
                    <a:pt x="12045" y="14377"/>
                    <a:pt x="15470" y="12019"/>
                  </a:cubicBezTo>
                  <a:cubicBezTo>
                    <a:pt x="16924" y="11017"/>
                    <a:pt x="18814" y="9370"/>
                    <a:pt x="19476" y="7221"/>
                  </a:cubicBezTo>
                  <a:cubicBezTo>
                    <a:pt x="19848" y="6009"/>
                    <a:pt x="20219" y="2795"/>
                    <a:pt x="18878" y="1195"/>
                  </a:cubicBezTo>
                  <a:cubicBezTo>
                    <a:pt x="18216" y="404"/>
                    <a:pt x="17053" y="0"/>
                    <a:pt x="15421" y="0"/>
                  </a:cubicBezTo>
                  <a:cubicBezTo>
                    <a:pt x="14937" y="0"/>
                    <a:pt x="14387" y="32"/>
                    <a:pt x="13822" y="113"/>
                  </a:cubicBezTo>
                  <a:cubicBezTo>
                    <a:pt x="13790" y="113"/>
                    <a:pt x="13757" y="113"/>
                    <a:pt x="13709" y="113"/>
                  </a:cubicBezTo>
                  <a:cubicBezTo>
                    <a:pt x="5616" y="824"/>
                    <a:pt x="1060" y="3021"/>
                    <a:pt x="139" y="6623"/>
                  </a:cubicBezTo>
                  <a:cubicBezTo>
                    <a:pt x="-587" y="9466"/>
                    <a:pt x="1609" y="12956"/>
                    <a:pt x="4824" y="1407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2" name="Free-form: Shape 251">
              <a:extLst>
                <a:ext uri="{FF2B5EF4-FFF2-40B4-BE49-F238E27FC236}">
                  <a16:creationId xmlns:a16="http://schemas.microsoft.com/office/drawing/2014/main" id="{E10C5BFF-DFEB-AC00-A635-FC456DCD7972}"/>
                </a:ext>
              </a:extLst>
            </p:cNvPr>
            <p:cNvSpPr/>
            <p:nvPr/>
          </p:nvSpPr>
          <p:spPr>
            <a:xfrm>
              <a:off x="5174993" y="3476635"/>
              <a:ext cx="28320" cy="15892"/>
            </a:xfrm>
            <a:custGeom>
              <a:avLst/>
              <a:gdLst>
                <a:gd name="connsiteX0" fmla="*/ 280 w 28320"/>
                <a:gd name="connsiteY0" fmla="*/ 11550 h 15892"/>
                <a:gd name="connsiteX1" fmla="*/ 6694 w 28320"/>
                <a:gd name="connsiteY1" fmla="*/ 15815 h 15892"/>
                <a:gd name="connsiteX2" fmla="*/ 16564 w 28320"/>
                <a:gd name="connsiteY2" fmla="*/ 14167 h 15892"/>
                <a:gd name="connsiteX3" fmla="*/ 28308 w 28320"/>
                <a:gd name="connsiteY3" fmla="*/ 6187 h 15892"/>
                <a:gd name="connsiteX4" fmla="*/ 25594 w 28320"/>
                <a:gd name="connsiteY4" fmla="*/ 2762 h 15892"/>
                <a:gd name="connsiteX5" fmla="*/ 14997 w 28320"/>
                <a:gd name="connsiteY5" fmla="*/ 0 h 15892"/>
                <a:gd name="connsiteX6" fmla="*/ 7534 w 28320"/>
                <a:gd name="connsiteY6" fmla="*/ 1341 h 15892"/>
                <a:gd name="connsiteX7" fmla="*/ 280 w 28320"/>
                <a:gd name="connsiteY7" fmla="*/ 11566 h 15892"/>
                <a:gd name="connsiteX8" fmla="*/ 280 w 28320"/>
                <a:gd name="connsiteY8" fmla="*/ 11550 h 15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20" h="15892">
                  <a:moveTo>
                    <a:pt x="280" y="11550"/>
                  </a:moveTo>
                  <a:cubicBezTo>
                    <a:pt x="1201" y="14103"/>
                    <a:pt x="4157" y="15540"/>
                    <a:pt x="6694" y="15815"/>
                  </a:cubicBezTo>
                  <a:cubicBezTo>
                    <a:pt x="10005" y="16187"/>
                    <a:pt x="13527" y="15153"/>
                    <a:pt x="16564" y="14167"/>
                  </a:cubicBezTo>
                  <a:cubicBezTo>
                    <a:pt x="21959" y="12390"/>
                    <a:pt x="27953" y="8772"/>
                    <a:pt x="28308" y="6187"/>
                  </a:cubicBezTo>
                  <a:cubicBezTo>
                    <a:pt x="28486" y="4927"/>
                    <a:pt x="26725" y="3522"/>
                    <a:pt x="25594" y="2762"/>
                  </a:cubicBezTo>
                  <a:cubicBezTo>
                    <a:pt x="22363" y="937"/>
                    <a:pt x="18680" y="0"/>
                    <a:pt x="14997" y="0"/>
                  </a:cubicBezTo>
                  <a:cubicBezTo>
                    <a:pt x="12461" y="0"/>
                    <a:pt x="9925" y="436"/>
                    <a:pt x="7534" y="1341"/>
                  </a:cubicBezTo>
                  <a:cubicBezTo>
                    <a:pt x="2978" y="3053"/>
                    <a:pt x="-1125" y="7673"/>
                    <a:pt x="280" y="11566"/>
                  </a:cubicBezTo>
                  <a:lnTo>
                    <a:pt x="280" y="1155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3" name="Free-form: Shape 252">
              <a:extLst>
                <a:ext uri="{FF2B5EF4-FFF2-40B4-BE49-F238E27FC236}">
                  <a16:creationId xmlns:a16="http://schemas.microsoft.com/office/drawing/2014/main" id="{AD192EF7-7F8D-A06A-5E2D-E7CD20788810}"/>
                </a:ext>
              </a:extLst>
            </p:cNvPr>
            <p:cNvSpPr/>
            <p:nvPr/>
          </p:nvSpPr>
          <p:spPr>
            <a:xfrm>
              <a:off x="5059957" y="3126961"/>
              <a:ext cx="12538" cy="16388"/>
            </a:xfrm>
            <a:custGeom>
              <a:avLst/>
              <a:gdLst>
                <a:gd name="connsiteX0" fmla="*/ 3433 w 12538"/>
                <a:gd name="connsiteY0" fmla="*/ 15298 h 16388"/>
                <a:gd name="connsiteX1" fmla="*/ 6664 w 12538"/>
                <a:gd name="connsiteY1" fmla="*/ 16364 h 16388"/>
                <a:gd name="connsiteX2" fmla="*/ 11527 w 12538"/>
                <a:gd name="connsiteY2" fmla="*/ 9886 h 16388"/>
                <a:gd name="connsiteX3" fmla="*/ 12431 w 12538"/>
                <a:gd name="connsiteY3" fmla="*/ 3425 h 16388"/>
                <a:gd name="connsiteX4" fmla="*/ 9814 w 12538"/>
                <a:gd name="connsiteY4" fmla="*/ 194 h 16388"/>
                <a:gd name="connsiteX5" fmla="*/ 9233 w 12538"/>
                <a:gd name="connsiteY5" fmla="*/ 32 h 16388"/>
                <a:gd name="connsiteX6" fmla="*/ 8603 w 12538"/>
                <a:gd name="connsiteY6" fmla="*/ 0 h 16388"/>
                <a:gd name="connsiteX7" fmla="*/ 606 w 12538"/>
                <a:gd name="connsiteY7" fmla="*/ 5169 h 16388"/>
                <a:gd name="connsiteX8" fmla="*/ 3449 w 12538"/>
                <a:gd name="connsiteY8" fmla="*/ 15298 h 16388"/>
                <a:gd name="connsiteX9" fmla="*/ 3433 w 12538"/>
                <a:gd name="connsiteY9" fmla="*/ 15298 h 16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38" h="16388">
                  <a:moveTo>
                    <a:pt x="3433" y="15298"/>
                  </a:moveTo>
                  <a:cubicBezTo>
                    <a:pt x="4548" y="16106"/>
                    <a:pt x="5711" y="16493"/>
                    <a:pt x="6664" y="16364"/>
                  </a:cubicBezTo>
                  <a:cubicBezTo>
                    <a:pt x="9233" y="16025"/>
                    <a:pt x="10800" y="12164"/>
                    <a:pt x="11527" y="9886"/>
                  </a:cubicBezTo>
                  <a:cubicBezTo>
                    <a:pt x="12205" y="7722"/>
                    <a:pt x="12787" y="5428"/>
                    <a:pt x="12431" y="3425"/>
                  </a:cubicBezTo>
                  <a:cubicBezTo>
                    <a:pt x="12124" y="1777"/>
                    <a:pt x="11010" y="388"/>
                    <a:pt x="9814" y="194"/>
                  </a:cubicBezTo>
                  <a:cubicBezTo>
                    <a:pt x="9604" y="162"/>
                    <a:pt x="9410" y="113"/>
                    <a:pt x="9233" y="32"/>
                  </a:cubicBezTo>
                  <a:cubicBezTo>
                    <a:pt x="9023" y="16"/>
                    <a:pt x="8813" y="0"/>
                    <a:pt x="8603" y="0"/>
                  </a:cubicBezTo>
                  <a:cubicBezTo>
                    <a:pt x="5291" y="0"/>
                    <a:pt x="1882" y="2132"/>
                    <a:pt x="606" y="5169"/>
                  </a:cubicBezTo>
                  <a:cubicBezTo>
                    <a:pt x="-848" y="8642"/>
                    <a:pt x="396" y="13085"/>
                    <a:pt x="3449" y="15298"/>
                  </a:cubicBezTo>
                  <a:lnTo>
                    <a:pt x="3433" y="152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4" name="Free-form: Shape 253">
              <a:extLst>
                <a:ext uri="{FF2B5EF4-FFF2-40B4-BE49-F238E27FC236}">
                  <a16:creationId xmlns:a16="http://schemas.microsoft.com/office/drawing/2014/main" id="{33ECB11C-E08C-3080-C4C5-CD6E225B03CB}"/>
                </a:ext>
              </a:extLst>
            </p:cNvPr>
            <p:cNvSpPr/>
            <p:nvPr/>
          </p:nvSpPr>
          <p:spPr>
            <a:xfrm>
              <a:off x="5079587" y="4230326"/>
              <a:ext cx="20439" cy="26576"/>
            </a:xfrm>
            <a:custGeom>
              <a:avLst/>
              <a:gdLst>
                <a:gd name="connsiteX0" fmla="*/ 18712 w 20439"/>
                <a:gd name="connsiteY0" fmla="*/ 2746 h 26576"/>
                <a:gd name="connsiteX1" fmla="*/ 18519 w 20439"/>
                <a:gd name="connsiteY1" fmla="*/ 2342 h 26576"/>
                <a:gd name="connsiteX2" fmla="*/ 14092 w 20439"/>
                <a:gd name="connsiteY2" fmla="*/ 0 h 26576"/>
                <a:gd name="connsiteX3" fmla="*/ 11976 w 20439"/>
                <a:gd name="connsiteY3" fmla="*/ 355 h 26576"/>
                <a:gd name="connsiteX4" fmla="*/ 4594 w 20439"/>
                <a:gd name="connsiteY4" fmla="*/ 7237 h 26576"/>
                <a:gd name="connsiteX5" fmla="*/ 70 w 20439"/>
                <a:gd name="connsiteY5" fmla="*/ 17366 h 26576"/>
                <a:gd name="connsiteX6" fmla="*/ 3269 w 20439"/>
                <a:gd name="connsiteY6" fmla="*/ 25621 h 26576"/>
                <a:gd name="connsiteX7" fmla="*/ 12897 w 20439"/>
                <a:gd name="connsiteY7" fmla="*/ 24683 h 26576"/>
                <a:gd name="connsiteX8" fmla="*/ 18696 w 20439"/>
                <a:gd name="connsiteY8" fmla="*/ 2730 h 26576"/>
                <a:gd name="connsiteX9" fmla="*/ 18712 w 20439"/>
                <a:gd name="connsiteY9" fmla="*/ 2746 h 2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39" h="26576">
                  <a:moveTo>
                    <a:pt x="18712" y="2746"/>
                  </a:moveTo>
                  <a:cubicBezTo>
                    <a:pt x="18632" y="2617"/>
                    <a:pt x="18583" y="2488"/>
                    <a:pt x="18519" y="2342"/>
                  </a:cubicBezTo>
                  <a:cubicBezTo>
                    <a:pt x="17905" y="792"/>
                    <a:pt x="15982" y="0"/>
                    <a:pt x="14092" y="0"/>
                  </a:cubicBezTo>
                  <a:cubicBezTo>
                    <a:pt x="13349" y="0"/>
                    <a:pt x="12622" y="113"/>
                    <a:pt x="11976" y="355"/>
                  </a:cubicBezTo>
                  <a:cubicBezTo>
                    <a:pt x="8858" y="1486"/>
                    <a:pt x="6500" y="4475"/>
                    <a:pt x="4594" y="7237"/>
                  </a:cubicBezTo>
                  <a:cubicBezTo>
                    <a:pt x="2720" y="9967"/>
                    <a:pt x="523" y="13586"/>
                    <a:pt x="70" y="17366"/>
                  </a:cubicBezTo>
                  <a:cubicBezTo>
                    <a:pt x="-269" y="20257"/>
                    <a:pt x="587" y="23924"/>
                    <a:pt x="3269" y="25621"/>
                  </a:cubicBezTo>
                  <a:cubicBezTo>
                    <a:pt x="6112" y="27414"/>
                    <a:pt x="10167" y="26444"/>
                    <a:pt x="12897" y="24683"/>
                  </a:cubicBezTo>
                  <a:cubicBezTo>
                    <a:pt x="19698" y="20290"/>
                    <a:pt x="22573" y="9418"/>
                    <a:pt x="18696" y="2730"/>
                  </a:cubicBezTo>
                  <a:lnTo>
                    <a:pt x="18712" y="274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5" name="Free-form: Shape 254">
              <a:extLst>
                <a:ext uri="{FF2B5EF4-FFF2-40B4-BE49-F238E27FC236}">
                  <a16:creationId xmlns:a16="http://schemas.microsoft.com/office/drawing/2014/main" id="{48CC12CF-63EA-28D9-53AB-0382B26F23FF}"/>
                </a:ext>
              </a:extLst>
            </p:cNvPr>
            <p:cNvSpPr/>
            <p:nvPr/>
          </p:nvSpPr>
          <p:spPr>
            <a:xfrm>
              <a:off x="5226612" y="2594156"/>
              <a:ext cx="55638" cy="37176"/>
            </a:xfrm>
            <a:custGeom>
              <a:avLst/>
              <a:gdLst>
                <a:gd name="connsiteX0" fmla="*/ 10775 w 55638"/>
                <a:gd name="connsiteY0" fmla="*/ 23543 h 37176"/>
                <a:gd name="connsiteX1" fmla="*/ 29853 w 55638"/>
                <a:gd name="connsiteY1" fmla="*/ 25773 h 37176"/>
                <a:gd name="connsiteX2" fmla="*/ 30790 w 55638"/>
                <a:gd name="connsiteY2" fmla="*/ 25659 h 37176"/>
                <a:gd name="connsiteX3" fmla="*/ 34457 w 55638"/>
                <a:gd name="connsiteY3" fmla="*/ 25385 h 37176"/>
                <a:gd name="connsiteX4" fmla="*/ 37462 w 55638"/>
                <a:gd name="connsiteY4" fmla="*/ 25708 h 37176"/>
                <a:gd name="connsiteX5" fmla="*/ 44020 w 55638"/>
                <a:gd name="connsiteY5" fmla="*/ 32880 h 37176"/>
                <a:gd name="connsiteX6" fmla="*/ 43746 w 55638"/>
                <a:gd name="connsiteY6" fmla="*/ 35336 h 37176"/>
                <a:gd name="connsiteX7" fmla="*/ 43584 w 55638"/>
                <a:gd name="connsiteY7" fmla="*/ 36450 h 37176"/>
                <a:gd name="connsiteX8" fmla="*/ 43907 w 55638"/>
                <a:gd name="connsiteY8" fmla="*/ 36822 h 37176"/>
                <a:gd name="connsiteX9" fmla="*/ 45716 w 55638"/>
                <a:gd name="connsiteY9" fmla="*/ 37097 h 37176"/>
                <a:gd name="connsiteX10" fmla="*/ 49787 w 55638"/>
                <a:gd name="connsiteY10" fmla="*/ 33284 h 37176"/>
                <a:gd name="connsiteX11" fmla="*/ 55377 w 55638"/>
                <a:gd name="connsiteY11" fmla="*/ 15240 h 37176"/>
                <a:gd name="connsiteX12" fmla="*/ 44553 w 55638"/>
                <a:gd name="connsiteY12" fmla="*/ 459 h 37176"/>
                <a:gd name="connsiteX13" fmla="*/ 29659 w 55638"/>
                <a:gd name="connsiteY13" fmla="*/ 685 h 37176"/>
                <a:gd name="connsiteX14" fmla="*/ 21259 w 55638"/>
                <a:gd name="connsiteY14" fmla="*/ 1137 h 37176"/>
                <a:gd name="connsiteX15" fmla="*/ 16461 w 55638"/>
                <a:gd name="connsiteY15" fmla="*/ 1315 h 37176"/>
                <a:gd name="connsiteX16" fmla="*/ 8562 w 55638"/>
                <a:gd name="connsiteY16" fmla="*/ 2058 h 37176"/>
                <a:gd name="connsiteX17" fmla="*/ 1212 w 55638"/>
                <a:gd name="connsiteY17" fmla="*/ 8084 h 37176"/>
                <a:gd name="connsiteX18" fmla="*/ 388 w 55638"/>
                <a:gd name="connsiteY18" fmla="*/ 15062 h 37176"/>
                <a:gd name="connsiteX19" fmla="*/ 10775 w 55638"/>
                <a:gd name="connsiteY19" fmla="*/ 23527 h 37176"/>
                <a:gd name="connsiteX20" fmla="*/ 10775 w 55638"/>
                <a:gd name="connsiteY20" fmla="*/ 23543 h 3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5638" h="37176">
                  <a:moveTo>
                    <a:pt x="10775" y="23543"/>
                  </a:moveTo>
                  <a:cubicBezTo>
                    <a:pt x="16849" y="25692"/>
                    <a:pt x="23440" y="26467"/>
                    <a:pt x="29853" y="25773"/>
                  </a:cubicBezTo>
                  <a:lnTo>
                    <a:pt x="30790" y="25659"/>
                  </a:lnTo>
                  <a:cubicBezTo>
                    <a:pt x="31937" y="25530"/>
                    <a:pt x="33181" y="25385"/>
                    <a:pt x="34457" y="25385"/>
                  </a:cubicBezTo>
                  <a:cubicBezTo>
                    <a:pt x="35442" y="25385"/>
                    <a:pt x="36444" y="25466"/>
                    <a:pt x="37462" y="25708"/>
                  </a:cubicBezTo>
                  <a:cubicBezTo>
                    <a:pt x="41209" y="26580"/>
                    <a:pt x="43907" y="29536"/>
                    <a:pt x="44020" y="32880"/>
                  </a:cubicBezTo>
                  <a:cubicBezTo>
                    <a:pt x="44052" y="33817"/>
                    <a:pt x="43875" y="34673"/>
                    <a:pt x="43746" y="35336"/>
                  </a:cubicBezTo>
                  <a:cubicBezTo>
                    <a:pt x="43665" y="35756"/>
                    <a:pt x="43568" y="36224"/>
                    <a:pt x="43584" y="36450"/>
                  </a:cubicBezTo>
                  <a:cubicBezTo>
                    <a:pt x="43584" y="36612"/>
                    <a:pt x="43842" y="36774"/>
                    <a:pt x="43907" y="36822"/>
                  </a:cubicBezTo>
                  <a:cubicBezTo>
                    <a:pt x="44408" y="37145"/>
                    <a:pt x="45167" y="37274"/>
                    <a:pt x="45716" y="37097"/>
                  </a:cubicBezTo>
                  <a:cubicBezTo>
                    <a:pt x="47300" y="36612"/>
                    <a:pt x="48608" y="34980"/>
                    <a:pt x="49787" y="33284"/>
                  </a:cubicBezTo>
                  <a:cubicBezTo>
                    <a:pt x="54504" y="26548"/>
                    <a:pt x="56378" y="20474"/>
                    <a:pt x="55377" y="15240"/>
                  </a:cubicBezTo>
                  <a:cubicBezTo>
                    <a:pt x="54197" y="9069"/>
                    <a:pt x="48963" y="4110"/>
                    <a:pt x="44553" y="459"/>
                  </a:cubicBezTo>
                  <a:cubicBezTo>
                    <a:pt x="42857" y="-510"/>
                    <a:pt x="33956" y="297"/>
                    <a:pt x="29659" y="685"/>
                  </a:cubicBezTo>
                  <a:cubicBezTo>
                    <a:pt x="25604" y="1057"/>
                    <a:pt x="22971" y="1267"/>
                    <a:pt x="21259" y="1137"/>
                  </a:cubicBezTo>
                  <a:cubicBezTo>
                    <a:pt x="19627" y="1267"/>
                    <a:pt x="18028" y="1299"/>
                    <a:pt x="16461" y="1315"/>
                  </a:cubicBezTo>
                  <a:cubicBezTo>
                    <a:pt x="13650" y="1347"/>
                    <a:pt x="11001" y="1380"/>
                    <a:pt x="8562" y="2058"/>
                  </a:cubicBezTo>
                  <a:cubicBezTo>
                    <a:pt x="5573" y="2898"/>
                    <a:pt x="2746" y="5208"/>
                    <a:pt x="1212" y="8084"/>
                  </a:cubicBezTo>
                  <a:cubicBezTo>
                    <a:pt x="-32" y="10426"/>
                    <a:pt x="-339" y="12898"/>
                    <a:pt x="388" y="15062"/>
                  </a:cubicBezTo>
                  <a:cubicBezTo>
                    <a:pt x="1874" y="19553"/>
                    <a:pt x="6849" y="22154"/>
                    <a:pt x="10775" y="23527"/>
                  </a:cubicBezTo>
                  <a:lnTo>
                    <a:pt x="10775" y="235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6" name="Free-form: Shape 255">
              <a:extLst>
                <a:ext uri="{FF2B5EF4-FFF2-40B4-BE49-F238E27FC236}">
                  <a16:creationId xmlns:a16="http://schemas.microsoft.com/office/drawing/2014/main" id="{E24B1E59-BB38-E76A-3B4A-F4A20BBCFF7B}"/>
                </a:ext>
              </a:extLst>
            </p:cNvPr>
            <p:cNvSpPr/>
            <p:nvPr/>
          </p:nvSpPr>
          <p:spPr>
            <a:xfrm>
              <a:off x="5087529" y="3087333"/>
              <a:ext cx="19172" cy="12105"/>
            </a:xfrm>
            <a:custGeom>
              <a:avLst/>
              <a:gdLst>
                <a:gd name="connsiteX0" fmla="*/ 11497 w 19172"/>
                <a:gd name="connsiteY0" fmla="*/ 12099 h 12105"/>
                <a:gd name="connsiteX1" fmla="*/ 17426 w 19172"/>
                <a:gd name="connsiteY1" fmla="*/ 10888 h 12105"/>
                <a:gd name="connsiteX2" fmla="*/ 19106 w 19172"/>
                <a:gd name="connsiteY2" fmla="*/ 7722 h 12105"/>
                <a:gd name="connsiteX3" fmla="*/ 7782 w 19172"/>
                <a:gd name="connsiteY3" fmla="*/ 0 h 12105"/>
                <a:gd name="connsiteX4" fmla="*/ 5132 w 19172"/>
                <a:gd name="connsiteY4" fmla="*/ 404 h 12105"/>
                <a:gd name="connsiteX5" fmla="*/ 4809 w 19172"/>
                <a:gd name="connsiteY5" fmla="*/ 485 h 12105"/>
                <a:gd name="connsiteX6" fmla="*/ 900 w 19172"/>
                <a:gd name="connsiteY6" fmla="*/ 3166 h 12105"/>
                <a:gd name="connsiteX7" fmla="*/ 92 w 19172"/>
                <a:gd name="connsiteY7" fmla="*/ 6736 h 12105"/>
                <a:gd name="connsiteX8" fmla="*/ 11513 w 19172"/>
                <a:gd name="connsiteY8" fmla="*/ 12099 h 12105"/>
                <a:gd name="connsiteX9" fmla="*/ 11497 w 19172"/>
                <a:gd name="connsiteY9" fmla="*/ 12099 h 1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172" h="12105">
                  <a:moveTo>
                    <a:pt x="11497" y="12099"/>
                  </a:moveTo>
                  <a:cubicBezTo>
                    <a:pt x="13500" y="12067"/>
                    <a:pt x="15778" y="11906"/>
                    <a:pt x="17426" y="10888"/>
                  </a:cubicBezTo>
                  <a:cubicBezTo>
                    <a:pt x="18637" y="10129"/>
                    <a:pt x="19413" y="8691"/>
                    <a:pt x="19106" y="7722"/>
                  </a:cubicBezTo>
                  <a:cubicBezTo>
                    <a:pt x="18379" y="5428"/>
                    <a:pt x="13532" y="0"/>
                    <a:pt x="7782" y="0"/>
                  </a:cubicBezTo>
                  <a:cubicBezTo>
                    <a:pt x="6909" y="0"/>
                    <a:pt x="6021" y="129"/>
                    <a:pt x="5132" y="404"/>
                  </a:cubicBezTo>
                  <a:cubicBezTo>
                    <a:pt x="5019" y="436"/>
                    <a:pt x="4906" y="468"/>
                    <a:pt x="4809" y="485"/>
                  </a:cubicBezTo>
                  <a:cubicBezTo>
                    <a:pt x="3291" y="759"/>
                    <a:pt x="1837" y="1777"/>
                    <a:pt x="900" y="3166"/>
                  </a:cubicBezTo>
                  <a:cubicBezTo>
                    <a:pt x="124" y="4329"/>
                    <a:pt x="-166" y="5605"/>
                    <a:pt x="92" y="6736"/>
                  </a:cubicBezTo>
                  <a:cubicBezTo>
                    <a:pt x="1061" y="11098"/>
                    <a:pt x="7749" y="12196"/>
                    <a:pt x="11513" y="12099"/>
                  </a:cubicBezTo>
                  <a:lnTo>
                    <a:pt x="11497" y="1209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7" name="Free-form: Shape 256">
              <a:extLst>
                <a:ext uri="{FF2B5EF4-FFF2-40B4-BE49-F238E27FC236}">
                  <a16:creationId xmlns:a16="http://schemas.microsoft.com/office/drawing/2014/main" id="{880886BB-533D-856D-A6F3-5F11CF00C679}"/>
                </a:ext>
              </a:extLst>
            </p:cNvPr>
            <p:cNvSpPr/>
            <p:nvPr/>
          </p:nvSpPr>
          <p:spPr>
            <a:xfrm>
              <a:off x="5297100" y="2628747"/>
              <a:ext cx="8848" cy="8392"/>
            </a:xfrm>
            <a:custGeom>
              <a:avLst/>
              <a:gdLst>
                <a:gd name="connsiteX0" fmla="*/ 1495 w 8848"/>
                <a:gd name="connsiteY0" fmla="*/ 8242 h 8392"/>
                <a:gd name="connsiteX1" fmla="*/ 7795 w 8848"/>
                <a:gd name="connsiteY1" fmla="*/ 4785 h 8392"/>
                <a:gd name="connsiteX2" fmla="*/ 8813 w 8848"/>
                <a:gd name="connsiteY2" fmla="*/ 3218 h 8392"/>
                <a:gd name="connsiteX3" fmla="*/ 6729 w 8848"/>
                <a:gd name="connsiteY3" fmla="*/ 569 h 8392"/>
                <a:gd name="connsiteX4" fmla="*/ 90 w 8848"/>
                <a:gd name="connsiteY4" fmla="*/ 20 h 8392"/>
                <a:gd name="connsiteX5" fmla="*/ 1495 w 8848"/>
                <a:gd name="connsiteY5" fmla="*/ 8242 h 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48" h="8392">
                  <a:moveTo>
                    <a:pt x="1495" y="8242"/>
                  </a:moveTo>
                  <a:cubicBezTo>
                    <a:pt x="3434" y="8986"/>
                    <a:pt x="6099" y="6837"/>
                    <a:pt x="7795" y="4785"/>
                  </a:cubicBezTo>
                  <a:cubicBezTo>
                    <a:pt x="8247" y="4236"/>
                    <a:pt x="8700" y="3655"/>
                    <a:pt x="8813" y="3218"/>
                  </a:cubicBezTo>
                  <a:cubicBezTo>
                    <a:pt x="9055" y="2346"/>
                    <a:pt x="8021" y="1038"/>
                    <a:pt x="6729" y="569"/>
                  </a:cubicBezTo>
                  <a:cubicBezTo>
                    <a:pt x="5437" y="101"/>
                    <a:pt x="2125" y="-61"/>
                    <a:pt x="90" y="20"/>
                  </a:cubicBezTo>
                  <a:cubicBezTo>
                    <a:pt x="-104" y="3105"/>
                    <a:pt x="-120" y="7629"/>
                    <a:pt x="1495" y="82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8" name="Free-form: Shape 257">
              <a:extLst>
                <a:ext uri="{FF2B5EF4-FFF2-40B4-BE49-F238E27FC236}">
                  <a16:creationId xmlns:a16="http://schemas.microsoft.com/office/drawing/2014/main" id="{6A5D7324-8991-CA66-84E0-7B80B98A0FF6}"/>
                </a:ext>
              </a:extLst>
            </p:cNvPr>
            <p:cNvSpPr/>
            <p:nvPr/>
          </p:nvSpPr>
          <p:spPr>
            <a:xfrm>
              <a:off x="6227486" y="5012471"/>
              <a:ext cx="66833" cy="65634"/>
            </a:xfrm>
            <a:custGeom>
              <a:avLst/>
              <a:gdLst>
                <a:gd name="connsiteX0" fmla="*/ 60538 w 66833"/>
                <a:gd name="connsiteY0" fmla="*/ 64933 h 65634"/>
                <a:gd name="connsiteX1" fmla="*/ 66806 w 66833"/>
                <a:gd name="connsiteY1" fmla="*/ 58616 h 65634"/>
                <a:gd name="connsiteX2" fmla="*/ 60812 w 66833"/>
                <a:gd name="connsiteY2" fmla="*/ 48633 h 65634"/>
                <a:gd name="connsiteX3" fmla="*/ 55659 w 66833"/>
                <a:gd name="connsiteY3" fmla="*/ 41186 h 65634"/>
                <a:gd name="connsiteX4" fmla="*/ 51459 w 66833"/>
                <a:gd name="connsiteY4" fmla="*/ 35145 h 65634"/>
                <a:gd name="connsiteX5" fmla="*/ 50571 w 66833"/>
                <a:gd name="connsiteY5" fmla="*/ 33755 h 65634"/>
                <a:gd name="connsiteX6" fmla="*/ 49941 w 66833"/>
                <a:gd name="connsiteY6" fmla="*/ 24111 h 65634"/>
                <a:gd name="connsiteX7" fmla="*/ 49214 w 66833"/>
                <a:gd name="connsiteY7" fmla="*/ 17230 h 65634"/>
                <a:gd name="connsiteX8" fmla="*/ 42284 w 66833"/>
                <a:gd name="connsiteY8" fmla="*/ 9944 h 65634"/>
                <a:gd name="connsiteX9" fmla="*/ 23254 w 66833"/>
                <a:gd name="connsiteY9" fmla="*/ 9 h 65634"/>
                <a:gd name="connsiteX10" fmla="*/ 12867 w 66833"/>
                <a:gd name="connsiteY10" fmla="*/ 1964 h 65634"/>
                <a:gd name="connsiteX11" fmla="*/ 3400 w 66833"/>
                <a:gd name="connsiteY11" fmla="*/ 6212 h 65634"/>
                <a:gd name="connsiteX12" fmla="*/ 105 w 66833"/>
                <a:gd name="connsiteY12" fmla="*/ 13465 h 65634"/>
                <a:gd name="connsiteX13" fmla="*/ 8602 w 66833"/>
                <a:gd name="connsiteY13" fmla="*/ 20654 h 65634"/>
                <a:gd name="connsiteX14" fmla="*/ 18504 w 66833"/>
                <a:gd name="connsiteY14" fmla="*/ 27407 h 65634"/>
                <a:gd name="connsiteX15" fmla="*/ 22333 w 66833"/>
                <a:gd name="connsiteY15" fmla="*/ 43981 h 65634"/>
                <a:gd name="connsiteX16" fmla="*/ 29199 w 66833"/>
                <a:gd name="connsiteY16" fmla="*/ 44724 h 65634"/>
                <a:gd name="connsiteX17" fmla="*/ 35240 w 66833"/>
                <a:gd name="connsiteY17" fmla="*/ 47212 h 65634"/>
                <a:gd name="connsiteX18" fmla="*/ 36420 w 66833"/>
                <a:gd name="connsiteY18" fmla="*/ 55386 h 65634"/>
                <a:gd name="connsiteX19" fmla="*/ 36048 w 66833"/>
                <a:gd name="connsiteY19" fmla="*/ 57761 h 65634"/>
                <a:gd name="connsiteX20" fmla="*/ 39973 w 66833"/>
                <a:gd name="connsiteY20" fmla="*/ 63204 h 65634"/>
                <a:gd name="connsiteX21" fmla="*/ 48955 w 66833"/>
                <a:gd name="connsiteY21" fmla="*/ 65207 h 65634"/>
                <a:gd name="connsiteX22" fmla="*/ 60586 w 66833"/>
                <a:gd name="connsiteY22" fmla="*/ 64933 h 65634"/>
                <a:gd name="connsiteX23" fmla="*/ 60538 w 66833"/>
                <a:gd name="connsiteY23" fmla="*/ 64933 h 65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833" h="65634">
                  <a:moveTo>
                    <a:pt x="60538" y="64933"/>
                  </a:moveTo>
                  <a:cubicBezTo>
                    <a:pt x="63332" y="64093"/>
                    <a:pt x="66483" y="61767"/>
                    <a:pt x="66806" y="58616"/>
                  </a:cubicBezTo>
                  <a:cubicBezTo>
                    <a:pt x="67161" y="55127"/>
                    <a:pt x="64124" y="51751"/>
                    <a:pt x="60812" y="48633"/>
                  </a:cubicBezTo>
                  <a:cubicBezTo>
                    <a:pt x="58292" y="46259"/>
                    <a:pt x="56887" y="43561"/>
                    <a:pt x="55659" y="41186"/>
                  </a:cubicBezTo>
                  <a:cubicBezTo>
                    <a:pt x="54448" y="38844"/>
                    <a:pt x="53398" y="36824"/>
                    <a:pt x="51459" y="35145"/>
                  </a:cubicBezTo>
                  <a:cubicBezTo>
                    <a:pt x="51039" y="34773"/>
                    <a:pt x="50716" y="34288"/>
                    <a:pt x="50571" y="33755"/>
                  </a:cubicBezTo>
                  <a:cubicBezTo>
                    <a:pt x="49521" y="30088"/>
                    <a:pt x="49747" y="26922"/>
                    <a:pt x="49941" y="24111"/>
                  </a:cubicBezTo>
                  <a:cubicBezTo>
                    <a:pt x="50135" y="21381"/>
                    <a:pt x="50280" y="19216"/>
                    <a:pt x="49214" y="17230"/>
                  </a:cubicBezTo>
                  <a:cubicBezTo>
                    <a:pt x="47679" y="14386"/>
                    <a:pt x="44933" y="12125"/>
                    <a:pt x="42284" y="9944"/>
                  </a:cubicBezTo>
                  <a:cubicBezTo>
                    <a:pt x="35854" y="4645"/>
                    <a:pt x="29974" y="235"/>
                    <a:pt x="23254" y="9"/>
                  </a:cubicBezTo>
                  <a:cubicBezTo>
                    <a:pt x="19958" y="-104"/>
                    <a:pt x="16598" y="833"/>
                    <a:pt x="12867" y="1964"/>
                  </a:cubicBezTo>
                  <a:cubicBezTo>
                    <a:pt x="9167" y="3095"/>
                    <a:pt x="5904" y="4193"/>
                    <a:pt x="3400" y="6212"/>
                  </a:cubicBezTo>
                  <a:cubicBezTo>
                    <a:pt x="1349" y="7876"/>
                    <a:pt x="-461" y="10752"/>
                    <a:pt x="105" y="13465"/>
                  </a:cubicBezTo>
                  <a:cubicBezTo>
                    <a:pt x="767" y="16600"/>
                    <a:pt x="3756" y="18279"/>
                    <a:pt x="8602" y="20654"/>
                  </a:cubicBezTo>
                  <a:cubicBezTo>
                    <a:pt x="12172" y="22415"/>
                    <a:pt x="15871" y="24224"/>
                    <a:pt x="18504" y="27407"/>
                  </a:cubicBezTo>
                  <a:cubicBezTo>
                    <a:pt x="22365" y="32059"/>
                    <a:pt x="22705" y="38020"/>
                    <a:pt x="22333" y="43981"/>
                  </a:cubicBezTo>
                  <a:lnTo>
                    <a:pt x="29199" y="44724"/>
                  </a:lnTo>
                  <a:cubicBezTo>
                    <a:pt x="30782" y="44901"/>
                    <a:pt x="33431" y="45176"/>
                    <a:pt x="35240" y="47212"/>
                  </a:cubicBezTo>
                  <a:cubicBezTo>
                    <a:pt x="37567" y="49796"/>
                    <a:pt x="36904" y="53027"/>
                    <a:pt x="36420" y="55386"/>
                  </a:cubicBezTo>
                  <a:cubicBezTo>
                    <a:pt x="36242" y="56258"/>
                    <a:pt x="36064" y="57082"/>
                    <a:pt x="36048" y="57761"/>
                  </a:cubicBezTo>
                  <a:cubicBezTo>
                    <a:pt x="35983" y="60087"/>
                    <a:pt x="37970" y="62171"/>
                    <a:pt x="39973" y="63204"/>
                  </a:cubicBezTo>
                  <a:cubicBezTo>
                    <a:pt x="42590" y="64545"/>
                    <a:pt x="45821" y="64884"/>
                    <a:pt x="48955" y="65207"/>
                  </a:cubicBezTo>
                  <a:cubicBezTo>
                    <a:pt x="52897" y="65611"/>
                    <a:pt x="56968" y="66031"/>
                    <a:pt x="60586" y="64933"/>
                  </a:cubicBezTo>
                  <a:lnTo>
                    <a:pt x="60538" y="6493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9" name="Free-form: Shape 258">
              <a:extLst>
                <a:ext uri="{FF2B5EF4-FFF2-40B4-BE49-F238E27FC236}">
                  <a16:creationId xmlns:a16="http://schemas.microsoft.com/office/drawing/2014/main" id="{173778CF-B5F4-7577-D0BB-01699C58F7DE}"/>
                </a:ext>
              </a:extLst>
            </p:cNvPr>
            <p:cNvSpPr/>
            <p:nvPr/>
          </p:nvSpPr>
          <p:spPr>
            <a:xfrm>
              <a:off x="6275212" y="5104559"/>
              <a:ext cx="33878" cy="47828"/>
            </a:xfrm>
            <a:custGeom>
              <a:avLst/>
              <a:gdLst>
                <a:gd name="connsiteX0" fmla="*/ 31389 w 33878"/>
                <a:gd name="connsiteY0" fmla="*/ 27656 h 47828"/>
                <a:gd name="connsiteX1" fmla="*/ 20000 w 33878"/>
                <a:gd name="connsiteY1" fmla="*/ 8578 h 47828"/>
                <a:gd name="connsiteX2" fmla="*/ 19677 w 33878"/>
                <a:gd name="connsiteY2" fmla="*/ 8255 h 47828"/>
                <a:gd name="connsiteX3" fmla="*/ 7109 w 33878"/>
                <a:gd name="connsiteY3" fmla="*/ 0 h 47828"/>
                <a:gd name="connsiteX4" fmla="*/ 6835 w 33878"/>
                <a:gd name="connsiteY4" fmla="*/ 0 h 47828"/>
                <a:gd name="connsiteX5" fmla="*/ 922 w 33878"/>
                <a:gd name="connsiteY5" fmla="*/ 3360 h 47828"/>
                <a:gd name="connsiteX6" fmla="*/ 470 w 33878"/>
                <a:gd name="connsiteY6" fmla="*/ 7092 h 47828"/>
                <a:gd name="connsiteX7" fmla="*/ 3103 w 33878"/>
                <a:gd name="connsiteY7" fmla="*/ 10193 h 47828"/>
                <a:gd name="connsiteX8" fmla="*/ 7126 w 33878"/>
                <a:gd name="connsiteY8" fmla="*/ 19482 h 47828"/>
                <a:gd name="connsiteX9" fmla="*/ 2651 w 33878"/>
                <a:gd name="connsiteY9" fmla="*/ 24813 h 47828"/>
                <a:gd name="connsiteX10" fmla="*/ 599 w 33878"/>
                <a:gd name="connsiteY10" fmla="*/ 26509 h 47828"/>
                <a:gd name="connsiteX11" fmla="*/ 99 w 33878"/>
                <a:gd name="connsiteY11" fmla="*/ 29174 h 47828"/>
                <a:gd name="connsiteX12" fmla="*/ 4816 w 33878"/>
                <a:gd name="connsiteY12" fmla="*/ 34828 h 47828"/>
                <a:gd name="connsiteX13" fmla="*/ 10599 w 33878"/>
                <a:gd name="connsiteY13" fmla="*/ 36928 h 47828"/>
                <a:gd name="connsiteX14" fmla="*/ 19790 w 33878"/>
                <a:gd name="connsiteY14" fmla="*/ 40902 h 47828"/>
                <a:gd name="connsiteX15" fmla="*/ 23393 w 33878"/>
                <a:gd name="connsiteY15" fmla="*/ 43939 h 47828"/>
                <a:gd name="connsiteX16" fmla="*/ 30323 w 33878"/>
                <a:gd name="connsiteY16" fmla="*/ 47687 h 47828"/>
                <a:gd name="connsiteX17" fmla="*/ 33021 w 33878"/>
                <a:gd name="connsiteY17" fmla="*/ 44262 h 47828"/>
                <a:gd name="connsiteX18" fmla="*/ 31599 w 33878"/>
                <a:gd name="connsiteY18" fmla="*/ 28270 h 47828"/>
                <a:gd name="connsiteX19" fmla="*/ 31373 w 33878"/>
                <a:gd name="connsiteY19" fmla="*/ 27688 h 47828"/>
                <a:gd name="connsiteX20" fmla="*/ 31389 w 33878"/>
                <a:gd name="connsiteY20" fmla="*/ 27656 h 4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878" h="47828">
                  <a:moveTo>
                    <a:pt x="31389" y="27656"/>
                  </a:moveTo>
                  <a:cubicBezTo>
                    <a:pt x="28385" y="19643"/>
                    <a:pt x="26204" y="13844"/>
                    <a:pt x="20000" y="8578"/>
                  </a:cubicBezTo>
                  <a:cubicBezTo>
                    <a:pt x="19887" y="8481"/>
                    <a:pt x="19774" y="8368"/>
                    <a:pt x="19677" y="8255"/>
                  </a:cubicBezTo>
                  <a:cubicBezTo>
                    <a:pt x="16479" y="4555"/>
                    <a:pt x="12150" y="274"/>
                    <a:pt x="7109" y="0"/>
                  </a:cubicBezTo>
                  <a:cubicBezTo>
                    <a:pt x="7013" y="0"/>
                    <a:pt x="6932" y="0"/>
                    <a:pt x="6835" y="0"/>
                  </a:cubicBezTo>
                  <a:cubicBezTo>
                    <a:pt x="4654" y="0"/>
                    <a:pt x="2215" y="1373"/>
                    <a:pt x="922" y="3360"/>
                  </a:cubicBezTo>
                  <a:cubicBezTo>
                    <a:pt x="325" y="4281"/>
                    <a:pt x="-241" y="5686"/>
                    <a:pt x="470" y="7092"/>
                  </a:cubicBezTo>
                  <a:cubicBezTo>
                    <a:pt x="987" y="8093"/>
                    <a:pt x="2053" y="9159"/>
                    <a:pt x="3103" y="10193"/>
                  </a:cubicBezTo>
                  <a:cubicBezTo>
                    <a:pt x="5284" y="12342"/>
                    <a:pt x="8257" y="15298"/>
                    <a:pt x="7126" y="19482"/>
                  </a:cubicBezTo>
                  <a:cubicBezTo>
                    <a:pt x="6399" y="22164"/>
                    <a:pt x="4315" y="23633"/>
                    <a:pt x="2651" y="24813"/>
                  </a:cubicBezTo>
                  <a:cubicBezTo>
                    <a:pt x="1827" y="25394"/>
                    <a:pt x="1052" y="25943"/>
                    <a:pt x="599" y="26509"/>
                  </a:cubicBezTo>
                  <a:cubicBezTo>
                    <a:pt x="34" y="27220"/>
                    <a:pt x="-128" y="28092"/>
                    <a:pt x="99" y="29174"/>
                  </a:cubicBezTo>
                  <a:cubicBezTo>
                    <a:pt x="567" y="31323"/>
                    <a:pt x="2554" y="33697"/>
                    <a:pt x="4816" y="34828"/>
                  </a:cubicBezTo>
                  <a:cubicBezTo>
                    <a:pt x="6576" y="35701"/>
                    <a:pt x="8531" y="36298"/>
                    <a:pt x="10599" y="36928"/>
                  </a:cubicBezTo>
                  <a:cubicBezTo>
                    <a:pt x="13700" y="37882"/>
                    <a:pt x="16931" y="38851"/>
                    <a:pt x="19790" y="40902"/>
                  </a:cubicBezTo>
                  <a:cubicBezTo>
                    <a:pt x="21051" y="41807"/>
                    <a:pt x="22246" y="42889"/>
                    <a:pt x="23393" y="43939"/>
                  </a:cubicBezTo>
                  <a:cubicBezTo>
                    <a:pt x="26446" y="46702"/>
                    <a:pt x="28417" y="48333"/>
                    <a:pt x="30323" y="47687"/>
                  </a:cubicBezTo>
                  <a:cubicBezTo>
                    <a:pt x="31389" y="47315"/>
                    <a:pt x="32375" y="46072"/>
                    <a:pt x="33021" y="44262"/>
                  </a:cubicBezTo>
                  <a:cubicBezTo>
                    <a:pt x="34523" y="40046"/>
                    <a:pt x="34055" y="34812"/>
                    <a:pt x="31599" y="28270"/>
                  </a:cubicBezTo>
                  <a:lnTo>
                    <a:pt x="31373" y="27688"/>
                  </a:lnTo>
                  <a:lnTo>
                    <a:pt x="31389" y="276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0" name="Free-form: Shape 259">
              <a:extLst>
                <a:ext uri="{FF2B5EF4-FFF2-40B4-BE49-F238E27FC236}">
                  <a16:creationId xmlns:a16="http://schemas.microsoft.com/office/drawing/2014/main" id="{22152D15-1821-AEB3-EF49-E28588199C4C}"/>
                </a:ext>
              </a:extLst>
            </p:cNvPr>
            <p:cNvSpPr/>
            <p:nvPr/>
          </p:nvSpPr>
          <p:spPr>
            <a:xfrm>
              <a:off x="6329067" y="4655188"/>
              <a:ext cx="156278" cy="215124"/>
            </a:xfrm>
            <a:custGeom>
              <a:avLst/>
              <a:gdLst>
                <a:gd name="connsiteX0" fmla="*/ 150513 w 156278"/>
                <a:gd name="connsiteY0" fmla="*/ 193262 h 215124"/>
                <a:gd name="connsiteX1" fmla="*/ 152516 w 156278"/>
                <a:gd name="connsiteY1" fmla="*/ 172407 h 215124"/>
                <a:gd name="connsiteX2" fmla="*/ 155117 w 156278"/>
                <a:gd name="connsiteY2" fmla="*/ 160469 h 215124"/>
                <a:gd name="connsiteX3" fmla="*/ 152032 w 156278"/>
                <a:gd name="connsiteY3" fmla="*/ 142344 h 215124"/>
                <a:gd name="connsiteX4" fmla="*/ 149867 w 156278"/>
                <a:gd name="connsiteY4" fmla="*/ 134154 h 215124"/>
                <a:gd name="connsiteX5" fmla="*/ 148284 w 156278"/>
                <a:gd name="connsiteY5" fmla="*/ 125915 h 215124"/>
                <a:gd name="connsiteX6" fmla="*/ 134375 w 156278"/>
                <a:gd name="connsiteY6" fmla="*/ 97758 h 215124"/>
                <a:gd name="connsiteX7" fmla="*/ 115523 w 156278"/>
                <a:gd name="connsiteY7" fmla="*/ 98130 h 215124"/>
                <a:gd name="connsiteX8" fmla="*/ 104846 w 156278"/>
                <a:gd name="connsiteY8" fmla="*/ 99875 h 215124"/>
                <a:gd name="connsiteX9" fmla="*/ 69387 w 156278"/>
                <a:gd name="connsiteY9" fmla="*/ 84948 h 215124"/>
                <a:gd name="connsiteX10" fmla="*/ 65704 w 156278"/>
                <a:gd name="connsiteY10" fmla="*/ 58003 h 215124"/>
                <a:gd name="connsiteX11" fmla="*/ 65817 w 156278"/>
                <a:gd name="connsiteY11" fmla="*/ 57728 h 215124"/>
                <a:gd name="connsiteX12" fmla="*/ 68660 w 156278"/>
                <a:gd name="connsiteY12" fmla="*/ 52607 h 215124"/>
                <a:gd name="connsiteX13" fmla="*/ 73005 w 156278"/>
                <a:gd name="connsiteY13" fmla="*/ 42317 h 215124"/>
                <a:gd name="connsiteX14" fmla="*/ 71422 w 156278"/>
                <a:gd name="connsiteY14" fmla="*/ 32657 h 215124"/>
                <a:gd name="connsiteX15" fmla="*/ 69645 w 156278"/>
                <a:gd name="connsiteY15" fmla="*/ 20800 h 215124"/>
                <a:gd name="connsiteX16" fmla="*/ 71568 w 156278"/>
                <a:gd name="connsiteY16" fmla="*/ 13094 h 215124"/>
                <a:gd name="connsiteX17" fmla="*/ 72375 w 156278"/>
                <a:gd name="connsiteY17" fmla="*/ 2982 h 215124"/>
                <a:gd name="connsiteX18" fmla="*/ 61649 w 156278"/>
                <a:gd name="connsiteY18" fmla="*/ 90 h 215124"/>
                <a:gd name="connsiteX19" fmla="*/ 21151 w 156278"/>
                <a:gd name="connsiteY19" fmla="*/ 15937 h 215124"/>
                <a:gd name="connsiteX20" fmla="*/ 7419 w 156278"/>
                <a:gd name="connsiteY20" fmla="*/ 54772 h 215124"/>
                <a:gd name="connsiteX21" fmla="*/ 7742 w 156278"/>
                <a:gd name="connsiteY21" fmla="*/ 56129 h 215124"/>
                <a:gd name="connsiteX22" fmla="*/ 8389 w 156278"/>
                <a:gd name="connsiteY22" fmla="*/ 64642 h 215124"/>
                <a:gd name="connsiteX23" fmla="*/ 4156 w 156278"/>
                <a:gd name="connsiteY23" fmla="*/ 71912 h 215124"/>
                <a:gd name="connsiteX24" fmla="*/ 2412 w 156278"/>
                <a:gd name="connsiteY24" fmla="*/ 74125 h 215124"/>
                <a:gd name="connsiteX25" fmla="*/ 780 w 156278"/>
                <a:gd name="connsiteY25" fmla="*/ 87323 h 215124"/>
                <a:gd name="connsiteX26" fmla="*/ 9584 w 156278"/>
                <a:gd name="connsiteY26" fmla="*/ 97306 h 215124"/>
                <a:gd name="connsiteX27" fmla="*/ 10973 w 156278"/>
                <a:gd name="connsiteY27" fmla="*/ 97774 h 215124"/>
                <a:gd name="connsiteX28" fmla="*/ 16757 w 156278"/>
                <a:gd name="connsiteY28" fmla="*/ 100844 h 215124"/>
                <a:gd name="connsiteX29" fmla="*/ 19713 w 156278"/>
                <a:gd name="connsiteY29" fmla="*/ 108986 h 215124"/>
                <a:gd name="connsiteX30" fmla="*/ 16789 w 156278"/>
                <a:gd name="connsiteY30" fmla="*/ 124154 h 215124"/>
                <a:gd name="connsiteX31" fmla="*/ 14463 w 156278"/>
                <a:gd name="connsiteY31" fmla="*/ 139872 h 215124"/>
                <a:gd name="connsiteX32" fmla="*/ 16805 w 156278"/>
                <a:gd name="connsiteY32" fmla="*/ 146657 h 215124"/>
                <a:gd name="connsiteX33" fmla="*/ 19002 w 156278"/>
                <a:gd name="connsiteY33" fmla="*/ 161891 h 215124"/>
                <a:gd name="connsiteX34" fmla="*/ 16934 w 156278"/>
                <a:gd name="connsiteY34" fmla="*/ 166058 h 215124"/>
                <a:gd name="connsiteX35" fmla="*/ 15206 w 156278"/>
                <a:gd name="connsiteY35" fmla="*/ 170824 h 215124"/>
                <a:gd name="connsiteX36" fmla="*/ 19002 w 156278"/>
                <a:gd name="connsiteY36" fmla="*/ 174636 h 215124"/>
                <a:gd name="connsiteX37" fmla="*/ 50842 w 156278"/>
                <a:gd name="connsiteY37" fmla="*/ 195653 h 215124"/>
                <a:gd name="connsiteX38" fmla="*/ 53976 w 156278"/>
                <a:gd name="connsiteY38" fmla="*/ 196945 h 215124"/>
                <a:gd name="connsiteX39" fmla="*/ 55042 w 156278"/>
                <a:gd name="connsiteY39" fmla="*/ 195378 h 215124"/>
                <a:gd name="connsiteX40" fmla="*/ 57045 w 156278"/>
                <a:gd name="connsiteY40" fmla="*/ 182293 h 215124"/>
                <a:gd name="connsiteX41" fmla="*/ 57934 w 156278"/>
                <a:gd name="connsiteY41" fmla="*/ 172181 h 215124"/>
                <a:gd name="connsiteX42" fmla="*/ 68660 w 156278"/>
                <a:gd name="connsiteY42" fmla="*/ 158030 h 215124"/>
                <a:gd name="connsiteX43" fmla="*/ 79063 w 156278"/>
                <a:gd name="connsiteY43" fmla="*/ 158304 h 215124"/>
                <a:gd name="connsiteX44" fmla="*/ 84410 w 156278"/>
                <a:gd name="connsiteY44" fmla="*/ 180290 h 215124"/>
                <a:gd name="connsiteX45" fmla="*/ 79645 w 156278"/>
                <a:gd name="connsiteY45" fmla="*/ 202712 h 215124"/>
                <a:gd name="connsiteX46" fmla="*/ 79467 w 156278"/>
                <a:gd name="connsiteY46" fmla="*/ 205265 h 215124"/>
                <a:gd name="connsiteX47" fmla="*/ 81632 w 156278"/>
                <a:gd name="connsiteY47" fmla="*/ 206379 h 215124"/>
                <a:gd name="connsiteX48" fmla="*/ 113569 w 156278"/>
                <a:gd name="connsiteY48" fmla="*/ 208156 h 215124"/>
                <a:gd name="connsiteX49" fmla="*/ 115346 w 156278"/>
                <a:gd name="connsiteY49" fmla="*/ 207769 h 215124"/>
                <a:gd name="connsiteX50" fmla="*/ 123181 w 156278"/>
                <a:gd name="connsiteY50" fmla="*/ 206638 h 215124"/>
                <a:gd name="connsiteX51" fmla="*/ 124182 w 156278"/>
                <a:gd name="connsiteY51" fmla="*/ 206670 h 215124"/>
                <a:gd name="connsiteX52" fmla="*/ 137428 w 156278"/>
                <a:gd name="connsiteY52" fmla="*/ 211306 h 215124"/>
                <a:gd name="connsiteX53" fmla="*/ 142404 w 156278"/>
                <a:gd name="connsiteY53" fmla="*/ 213762 h 215124"/>
                <a:gd name="connsiteX54" fmla="*/ 155537 w 156278"/>
                <a:gd name="connsiteY54" fmla="*/ 212114 h 215124"/>
                <a:gd name="connsiteX55" fmla="*/ 153389 w 156278"/>
                <a:gd name="connsiteY55" fmla="*/ 200451 h 215124"/>
                <a:gd name="connsiteX56" fmla="*/ 150530 w 156278"/>
                <a:gd name="connsiteY56" fmla="*/ 193310 h 215124"/>
                <a:gd name="connsiteX57" fmla="*/ 150513 w 156278"/>
                <a:gd name="connsiteY57" fmla="*/ 193262 h 21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278" h="215124">
                  <a:moveTo>
                    <a:pt x="150513" y="193262"/>
                  </a:moveTo>
                  <a:cubicBezTo>
                    <a:pt x="148526" y="186090"/>
                    <a:pt x="150546" y="179143"/>
                    <a:pt x="152516" y="172407"/>
                  </a:cubicBezTo>
                  <a:cubicBezTo>
                    <a:pt x="153712" y="168271"/>
                    <a:pt x="154859" y="164378"/>
                    <a:pt x="155117" y="160469"/>
                  </a:cubicBezTo>
                  <a:cubicBezTo>
                    <a:pt x="155505" y="154476"/>
                    <a:pt x="153825" y="148580"/>
                    <a:pt x="152032" y="142344"/>
                  </a:cubicBezTo>
                  <a:cubicBezTo>
                    <a:pt x="151273" y="139679"/>
                    <a:pt x="150481" y="136916"/>
                    <a:pt x="149867" y="134154"/>
                  </a:cubicBezTo>
                  <a:cubicBezTo>
                    <a:pt x="149270" y="131488"/>
                    <a:pt x="148769" y="128661"/>
                    <a:pt x="148284" y="125915"/>
                  </a:cubicBezTo>
                  <a:cubicBezTo>
                    <a:pt x="146168" y="114074"/>
                    <a:pt x="143987" y="101845"/>
                    <a:pt x="134375" y="97758"/>
                  </a:cubicBezTo>
                  <a:cubicBezTo>
                    <a:pt x="128738" y="95368"/>
                    <a:pt x="122324" y="96708"/>
                    <a:pt x="115523" y="98130"/>
                  </a:cubicBezTo>
                  <a:cubicBezTo>
                    <a:pt x="112050" y="98857"/>
                    <a:pt x="108448" y="99616"/>
                    <a:pt x="104846" y="99875"/>
                  </a:cubicBezTo>
                  <a:cubicBezTo>
                    <a:pt x="91114" y="100844"/>
                    <a:pt x="76866" y="94867"/>
                    <a:pt x="69387" y="84948"/>
                  </a:cubicBezTo>
                  <a:cubicBezTo>
                    <a:pt x="63507" y="77162"/>
                    <a:pt x="62198" y="67582"/>
                    <a:pt x="65704" y="58003"/>
                  </a:cubicBezTo>
                  <a:cubicBezTo>
                    <a:pt x="65736" y="57906"/>
                    <a:pt x="65768" y="57825"/>
                    <a:pt x="65817" y="57728"/>
                  </a:cubicBezTo>
                  <a:cubicBezTo>
                    <a:pt x="66673" y="55951"/>
                    <a:pt x="67675" y="54255"/>
                    <a:pt x="68660" y="52607"/>
                  </a:cubicBezTo>
                  <a:cubicBezTo>
                    <a:pt x="70712" y="49134"/>
                    <a:pt x="72650" y="45839"/>
                    <a:pt x="73005" y="42317"/>
                  </a:cubicBezTo>
                  <a:cubicBezTo>
                    <a:pt x="73313" y="39232"/>
                    <a:pt x="72392" y="36033"/>
                    <a:pt x="71422" y="32657"/>
                  </a:cubicBezTo>
                  <a:cubicBezTo>
                    <a:pt x="70340" y="28893"/>
                    <a:pt x="69225" y="25000"/>
                    <a:pt x="69645" y="20800"/>
                  </a:cubicBezTo>
                  <a:cubicBezTo>
                    <a:pt x="69904" y="18134"/>
                    <a:pt x="70760" y="15566"/>
                    <a:pt x="71568" y="13094"/>
                  </a:cubicBezTo>
                  <a:cubicBezTo>
                    <a:pt x="73103" y="8409"/>
                    <a:pt x="73926" y="5389"/>
                    <a:pt x="72375" y="2982"/>
                  </a:cubicBezTo>
                  <a:cubicBezTo>
                    <a:pt x="70873" y="639"/>
                    <a:pt x="67271" y="-314"/>
                    <a:pt x="61649" y="90"/>
                  </a:cubicBezTo>
                  <a:cubicBezTo>
                    <a:pt x="45398" y="1318"/>
                    <a:pt x="31021" y="6939"/>
                    <a:pt x="21151" y="15937"/>
                  </a:cubicBezTo>
                  <a:cubicBezTo>
                    <a:pt x="9810" y="26276"/>
                    <a:pt x="4415" y="41526"/>
                    <a:pt x="7419" y="54772"/>
                  </a:cubicBezTo>
                  <a:cubicBezTo>
                    <a:pt x="7516" y="55224"/>
                    <a:pt x="7629" y="55677"/>
                    <a:pt x="7742" y="56129"/>
                  </a:cubicBezTo>
                  <a:cubicBezTo>
                    <a:pt x="8372" y="58698"/>
                    <a:pt x="9083" y="61605"/>
                    <a:pt x="8389" y="64642"/>
                  </a:cubicBezTo>
                  <a:cubicBezTo>
                    <a:pt x="7694" y="67647"/>
                    <a:pt x="5820" y="69908"/>
                    <a:pt x="4156" y="71912"/>
                  </a:cubicBezTo>
                  <a:cubicBezTo>
                    <a:pt x="3559" y="72639"/>
                    <a:pt x="2945" y="73366"/>
                    <a:pt x="2412" y="74125"/>
                  </a:cubicBezTo>
                  <a:cubicBezTo>
                    <a:pt x="-76" y="77663"/>
                    <a:pt x="-674" y="82590"/>
                    <a:pt x="780" y="87323"/>
                  </a:cubicBezTo>
                  <a:cubicBezTo>
                    <a:pt x="2250" y="92056"/>
                    <a:pt x="5529" y="95788"/>
                    <a:pt x="9584" y="97306"/>
                  </a:cubicBezTo>
                  <a:cubicBezTo>
                    <a:pt x="10036" y="97484"/>
                    <a:pt x="10505" y="97629"/>
                    <a:pt x="10973" y="97774"/>
                  </a:cubicBezTo>
                  <a:cubicBezTo>
                    <a:pt x="12880" y="98405"/>
                    <a:pt x="15028" y="99099"/>
                    <a:pt x="16757" y="100844"/>
                  </a:cubicBezTo>
                  <a:cubicBezTo>
                    <a:pt x="18631" y="102718"/>
                    <a:pt x="19616" y="105464"/>
                    <a:pt x="19713" y="108986"/>
                  </a:cubicBezTo>
                  <a:cubicBezTo>
                    <a:pt x="19842" y="114284"/>
                    <a:pt x="18291" y="119292"/>
                    <a:pt x="16789" y="124154"/>
                  </a:cubicBezTo>
                  <a:cubicBezTo>
                    <a:pt x="15077" y="129647"/>
                    <a:pt x="13477" y="134832"/>
                    <a:pt x="14463" y="139872"/>
                  </a:cubicBezTo>
                  <a:cubicBezTo>
                    <a:pt x="14899" y="142069"/>
                    <a:pt x="15820" y="144299"/>
                    <a:pt x="16805" y="146657"/>
                  </a:cubicBezTo>
                  <a:cubicBezTo>
                    <a:pt x="18711" y="151261"/>
                    <a:pt x="20876" y="156479"/>
                    <a:pt x="19002" y="161891"/>
                  </a:cubicBezTo>
                  <a:cubicBezTo>
                    <a:pt x="18469" y="163409"/>
                    <a:pt x="17694" y="164750"/>
                    <a:pt x="16934" y="166058"/>
                  </a:cubicBezTo>
                  <a:cubicBezTo>
                    <a:pt x="15852" y="167900"/>
                    <a:pt x="14931" y="169499"/>
                    <a:pt x="15206" y="170824"/>
                  </a:cubicBezTo>
                  <a:cubicBezTo>
                    <a:pt x="15497" y="172229"/>
                    <a:pt x="17241" y="173473"/>
                    <a:pt x="19002" y="174636"/>
                  </a:cubicBezTo>
                  <a:lnTo>
                    <a:pt x="50842" y="195653"/>
                  </a:lnTo>
                  <a:cubicBezTo>
                    <a:pt x="52942" y="197042"/>
                    <a:pt x="53701" y="197058"/>
                    <a:pt x="53976" y="196945"/>
                  </a:cubicBezTo>
                  <a:cubicBezTo>
                    <a:pt x="54089" y="196897"/>
                    <a:pt x="54493" y="196638"/>
                    <a:pt x="55042" y="195378"/>
                  </a:cubicBezTo>
                  <a:cubicBezTo>
                    <a:pt x="56754" y="191453"/>
                    <a:pt x="56900" y="187010"/>
                    <a:pt x="57045" y="182293"/>
                  </a:cubicBezTo>
                  <a:cubicBezTo>
                    <a:pt x="57142" y="178982"/>
                    <a:pt x="57255" y="175557"/>
                    <a:pt x="57934" y="172181"/>
                  </a:cubicBezTo>
                  <a:cubicBezTo>
                    <a:pt x="59129" y="166188"/>
                    <a:pt x="63539" y="160372"/>
                    <a:pt x="68660" y="158030"/>
                  </a:cubicBezTo>
                  <a:cubicBezTo>
                    <a:pt x="72198" y="156414"/>
                    <a:pt x="75897" y="156511"/>
                    <a:pt x="79063" y="158304"/>
                  </a:cubicBezTo>
                  <a:cubicBezTo>
                    <a:pt x="84992" y="161681"/>
                    <a:pt x="86801" y="169079"/>
                    <a:pt x="84410" y="180290"/>
                  </a:cubicBezTo>
                  <a:lnTo>
                    <a:pt x="79645" y="202712"/>
                  </a:lnTo>
                  <a:cubicBezTo>
                    <a:pt x="79500" y="203391"/>
                    <a:pt x="79209" y="204780"/>
                    <a:pt x="79467" y="205265"/>
                  </a:cubicBezTo>
                  <a:cubicBezTo>
                    <a:pt x="79742" y="205766"/>
                    <a:pt x="81163" y="206234"/>
                    <a:pt x="81632" y="206379"/>
                  </a:cubicBezTo>
                  <a:cubicBezTo>
                    <a:pt x="91922" y="209739"/>
                    <a:pt x="102972" y="210353"/>
                    <a:pt x="113569" y="208156"/>
                  </a:cubicBezTo>
                  <a:cubicBezTo>
                    <a:pt x="114166" y="208027"/>
                    <a:pt x="114748" y="207898"/>
                    <a:pt x="115346" y="207769"/>
                  </a:cubicBezTo>
                  <a:cubicBezTo>
                    <a:pt x="117850" y="207219"/>
                    <a:pt x="120434" y="206638"/>
                    <a:pt x="123181" y="206638"/>
                  </a:cubicBezTo>
                  <a:cubicBezTo>
                    <a:pt x="123520" y="206638"/>
                    <a:pt x="123843" y="206638"/>
                    <a:pt x="124182" y="206670"/>
                  </a:cubicBezTo>
                  <a:cubicBezTo>
                    <a:pt x="129125" y="206929"/>
                    <a:pt x="133341" y="209158"/>
                    <a:pt x="137428" y="211306"/>
                  </a:cubicBezTo>
                  <a:cubicBezTo>
                    <a:pt x="139141" y="212211"/>
                    <a:pt x="140756" y="213067"/>
                    <a:pt x="142404" y="213762"/>
                  </a:cubicBezTo>
                  <a:cubicBezTo>
                    <a:pt x="147234" y="215813"/>
                    <a:pt x="153470" y="215765"/>
                    <a:pt x="155537" y="212114"/>
                  </a:cubicBezTo>
                  <a:cubicBezTo>
                    <a:pt x="157217" y="209142"/>
                    <a:pt x="155844" y="205733"/>
                    <a:pt x="153389" y="200451"/>
                  </a:cubicBezTo>
                  <a:cubicBezTo>
                    <a:pt x="152323" y="198141"/>
                    <a:pt x="151208" y="195766"/>
                    <a:pt x="150530" y="193310"/>
                  </a:cubicBezTo>
                  <a:lnTo>
                    <a:pt x="150513" y="19326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1" name="Free-form: Shape 260">
              <a:extLst>
                <a:ext uri="{FF2B5EF4-FFF2-40B4-BE49-F238E27FC236}">
                  <a16:creationId xmlns:a16="http://schemas.microsoft.com/office/drawing/2014/main" id="{529F749D-D1B9-32C1-D035-65899E58B8BE}"/>
                </a:ext>
              </a:extLst>
            </p:cNvPr>
            <p:cNvSpPr/>
            <p:nvPr/>
          </p:nvSpPr>
          <p:spPr>
            <a:xfrm>
              <a:off x="6240964" y="4868096"/>
              <a:ext cx="87944" cy="124595"/>
            </a:xfrm>
            <a:custGeom>
              <a:avLst/>
              <a:gdLst>
                <a:gd name="connsiteX0" fmla="*/ 79400 w 87944"/>
                <a:gd name="connsiteY0" fmla="*/ 91123 h 124595"/>
                <a:gd name="connsiteX1" fmla="*/ 68642 w 87944"/>
                <a:gd name="connsiteY1" fmla="*/ 72271 h 124595"/>
                <a:gd name="connsiteX2" fmla="*/ 70402 w 87944"/>
                <a:gd name="connsiteY2" fmla="*/ 62530 h 124595"/>
                <a:gd name="connsiteX3" fmla="*/ 71760 w 87944"/>
                <a:gd name="connsiteY3" fmla="*/ 53452 h 124595"/>
                <a:gd name="connsiteX4" fmla="*/ 68189 w 87944"/>
                <a:gd name="connsiteY4" fmla="*/ 46425 h 124595"/>
                <a:gd name="connsiteX5" fmla="*/ 64086 w 87944"/>
                <a:gd name="connsiteY5" fmla="*/ 38751 h 124595"/>
                <a:gd name="connsiteX6" fmla="*/ 63101 w 87944"/>
                <a:gd name="connsiteY6" fmla="*/ 31450 h 124595"/>
                <a:gd name="connsiteX7" fmla="*/ 62067 w 87944"/>
                <a:gd name="connsiteY7" fmla="*/ 24778 h 124595"/>
                <a:gd name="connsiteX8" fmla="*/ 47835 w 87944"/>
                <a:gd name="connsiteY8" fmla="*/ 16459 h 124595"/>
                <a:gd name="connsiteX9" fmla="*/ 30744 w 87944"/>
                <a:gd name="connsiteY9" fmla="*/ 7477 h 124595"/>
                <a:gd name="connsiteX10" fmla="*/ 29274 w 87944"/>
                <a:gd name="connsiteY10" fmla="*/ 5361 h 124595"/>
                <a:gd name="connsiteX11" fmla="*/ 27125 w 87944"/>
                <a:gd name="connsiteY11" fmla="*/ 2631 h 124595"/>
                <a:gd name="connsiteX12" fmla="*/ 14832 w 87944"/>
                <a:gd name="connsiteY12" fmla="*/ 192 h 124595"/>
                <a:gd name="connsiteX13" fmla="*/ 14057 w 87944"/>
                <a:gd name="connsiteY13" fmla="*/ 33986 h 124595"/>
                <a:gd name="connsiteX14" fmla="*/ 8726 w 87944"/>
                <a:gd name="connsiteY14" fmla="*/ 38897 h 124595"/>
                <a:gd name="connsiteX15" fmla="*/ 2975 w 87944"/>
                <a:gd name="connsiteY15" fmla="*/ 44923 h 124595"/>
                <a:gd name="connsiteX16" fmla="*/ 10810 w 87944"/>
                <a:gd name="connsiteY16" fmla="*/ 65971 h 124595"/>
                <a:gd name="connsiteX17" fmla="*/ 14428 w 87944"/>
                <a:gd name="connsiteY17" fmla="*/ 94063 h 124595"/>
                <a:gd name="connsiteX18" fmla="*/ 6690 w 87944"/>
                <a:gd name="connsiteY18" fmla="*/ 98651 h 124595"/>
                <a:gd name="connsiteX19" fmla="*/ 83 w 87944"/>
                <a:gd name="connsiteY19" fmla="*/ 103708 h 124595"/>
                <a:gd name="connsiteX20" fmla="*/ 7127 w 87944"/>
                <a:gd name="connsiteY20" fmla="*/ 112560 h 124595"/>
                <a:gd name="connsiteX21" fmla="*/ 16318 w 87944"/>
                <a:gd name="connsiteY21" fmla="*/ 124595 h 124595"/>
                <a:gd name="connsiteX22" fmla="*/ 18741 w 87944"/>
                <a:gd name="connsiteY22" fmla="*/ 122043 h 124595"/>
                <a:gd name="connsiteX23" fmla="*/ 19646 w 87944"/>
                <a:gd name="connsiteY23" fmla="*/ 119474 h 124595"/>
                <a:gd name="connsiteX24" fmla="*/ 24702 w 87944"/>
                <a:gd name="connsiteY24" fmla="*/ 111316 h 124595"/>
                <a:gd name="connsiteX25" fmla="*/ 39871 w 87944"/>
                <a:gd name="connsiteY25" fmla="*/ 114822 h 124595"/>
                <a:gd name="connsiteX26" fmla="*/ 42230 w 87944"/>
                <a:gd name="connsiteY26" fmla="*/ 117406 h 124595"/>
                <a:gd name="connsiteX27" fmla="*/ 48417 w 87944"/>
                <a:gd name="connsiteY27" fmla="*/ 122624 h 124595"/>
                <a:gd name="connsiteX28" fmla="*/ 61146 w 87944"/>
                <a:gd name="connsiteY28" fmla="*/ 119345 h 124595"/>
                <a:gd name="connsiteX29" fmla="*/ 71501 w 87944"/>
                <a:gd name="connsiteY29" fmla="*/ 115048 h 124595"/>
                <a:gd name="connsiteX30" fmla="*/ 77397 w 87944"/>
                <a:gd name="connsiteY30" fmla="*/ 114483 h 124595"/>
                <a:gd name="connsiteX31" fmla="*/ 85216 w 87944"/>
                <a:gd name="connsiteY31" fmla="*/ 112867 h 124595"/>
                <a:gd name="connsiteX32" fmla="*/ 87865 w 87944"/>
                <a:gd name="connsiteY32" fmla="*/ 108344 h 124595"/>
                <a:gd name="connsiteX33" fmla="*/ 82874 w 87944"/>
                <a:gd name="connsiteY33" fmla="*/ 94887 h 124595"/>
                <a:gd name="connsiteX34" fmla="*/ 79400 w 87944"/>
                <a:gd name="connsiteY34" fmla="*/ 91139 h 124595"/>
                <a:gd name="connsiteX35" fmla="*/ 79400 w 87944"/>
                <a:gd name="connsiteY35" fmla="*/ 91123 h 1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7944" h="124595">
                  <a:moveTo>
                    <a:pt x="79400" y="91123"/>
                  </a:moveTo>
                  <a:cubicBezTo>
                    <a:pt x="74489" y="85970"/>
                    <a:pt x="68916" y="80123"/>
                    <a:pt x="68642" y="72271"/>
                  </a:cubicBezTo>
                  <a:cubicBezTo>
                    <a:pt x="68529" y="68815"/>
                    <a:pt x="69482" y="65632"/>
                    <a:pt x="70402" y="62530"/>
                  </a:cubicBezTo>
                  <a:cubicBezTo>
                    <a:pt x="71372" y="59316"/>
                    <a:pt x="72276" y="56263"/>
                    <a:pt x="71760" y="53452"/>
                  </a:cubicBezTo>
                  <a:cubicBezTo>
                    <a:pt x="71307" y="51045"/>
                    <a:pt x="69789" y="48799"/>
                    <a:pt x="68189" y="46425"/>
                  </a:cubicBezTo>
                  <a:cubicBezTo>
                    <a:pt x="66606" y="44082"/>
                    <a:pt x="64991" y="41659"/>
                    <a:pt x="64086" y="38751"/>
                  </a:cubicBezTo>
                  <a:cubicBezTo>
                    <a:pt x="63327" y="36280"/>
                    <a:pt x="63214" y="33824"/>
                    <a:pt x="63101" y="31450"/>
                  </a:cubicBezTo>
                  <a:cubicBezTo>
                    <a:pt x="62988" y="29010"/>
                    <a:pt x="62875" y="26701"/>
                    <a:pt x="62067" y="24778"/>
                  </a:cubicBezTo>
                  <a:cubicBezTo>
                    <a:pt x="59999" y="19900"/>
                    <a:pt x="54361" y="18300"/>
                    <a:pt x="47835" y="16459"/>
                  </a:cubicBezTo>
                  <a:cubicBezTo>
                    <a:pt x="41487" y="14666"/>
                    <a:pt x="34912" y="12808"/>
                    <a:pt x="30744" y="7477"/>
                  </a:cubicBezTo>
                  <a:cubicBezTo>
                    <a:pt x="30211" y="6798"/>
                    <a:pt x="29742" y="6088"/>
                    <a:pt x="29274" y="5361"/>
                  </a:cubicBezTo>
                  <a:cubicBezTo>
                    <a:pt x="28579" y="4279"/>
                    <a:pt x="27917" y="3261"/>
                    <a:pt x="27125" y="2631"/>
                  </a:cubicBezTo>
                  <a:cubicBezTo>
                    <a:pt x="23749" y="-83"/>
                    <a:pt x="17804" y="-261"/>
                    <a:pt x="14832" y="192"/>
                  </a:cubicBezTo>
                  <a:cubicBezTo>
                    <a:pt x="18935" y="11322"/>
                    <a:pt x="21908" y="24584"/>
                    <a:pt x="14057" y="33986"/>
                  </a:cubicBezTo>
                  <a:cubicBezTo>
                    <a:pt x="12457" y="35908"/>
                    <a:pt x="10567" y="37427"/>
                    <a:pt x="8726" y="38897"/>
                  </a:cubicBezTo>
                  <a:cubicBezTo>
                    <a:pt x="6367" y="40803"/>
                    <a:pt x="4122" y="42596"/>
                    <a:pt x="2975" y="44923"/>
                  </a:cubicBezTo>
                  <a:cubicBezTo>
                    <a:pt x="-143" y="51239"/>
                    <a:pt x="5382" y="59106"/>
                    <a:pt x="10810" y="65971"/>
                  </a:cubicBezTo>
                  <a:cubicBezTo>
                    <a:pt x="17320" y="74226"/>
                    <a:pt x="22182" y="86536"/>
                    <a:pt x="14428" y="94063"/>
                  </a:cubicBezTo>
                  <a:cubicBezTo>
                    <a:pt x="12215" y="96212"/>
                    <a:pt x="9404" y="97456"/>
                    <a:pt x="6690" y="98651"/>
                  </a:cubicBezTo>
                  <a:cubicBezTo>
                    <a:pt x="2910" y="100315"/>
                    <a:pt x="568" y="101446"/>
                    <a:pt x="83" y="103708"/>
                  </a:cubicBezTo>
                  <a:cubicBezTo>
                    <a:pt x="-547" y="106599"/>
                    <a:pt x="2458" y="109087"/>
                    <a:pt x="7127" y="112560"/>
                  </a:cubicBezTo>
                  <a:cubicBezTo>
                    <a:pt x="11246" y="115630"/>
                    <a:pt x="16221" y="119345"/>
                    <a:pt x="16318" y="124595"/>
                  </a:cubicBezTo>
                  <a:cubicBezTo>
                    <a:pt x="17223" y="124143"/>
                    <a:pt x="18273" y="123173"/>
                    <a:pt x="18741" y="122043"/>
                  </a:cubicBezTo>
                  <a:cubicBezTo>
                    <a:pt x="19081" y="121219"/>
                    <a:pt x="19371" y="120346"/>
                    <a:pt x="19646" y="119474"/>
                  </a:cubicBezTo>
                  <a:cubicBezTo>
                    <a:pt x="20583" y="116582"/>
                    <a:pt x="21633" y="113303"/>
                    <a:pt x="24702" y="111316"/>
                  </a:cubicBezTo>
                  <a:cubicBezTo>
                    <a:pt x="29629" y="108101"/>
                    <a:pt x="35865" y="110767"/>
                    <a:pt x="39871" y="114822"/>
                  </a:cubicBezTo>
                  <a:cubicBezTo>
                    <a:pt x="40679" y="115646"/>
                    <a:pt x="41454" y="116518"/>
                    <a:pt x="42230" y="117406"/>
                  </a:cubicBezTo>
                  <a:cubicBezTo>
                    <a:pt x="44217" y="119652"/>
                    <a:pt x="46074" y="121768"/>
                    <a:pt x="48417" y="122624"/>
                  </a:cubicBezTo>
                  <a:cubicBezTo>
                    <a:pt x="52310" y="124046"/>
                    <a:pt x="56413" y="121881"/>
                    <a:pt x="61146" y="119345"/>
                  </a:cubicBezTo>
                  <a:cubicBezTo>
                    <a:pt x="64409" y="117600"/>
                    <a:pt x="67802" y="115807"/>
                    <a:pt x="71501" y="115048"/>
                  </a:cubicBezTo>
                  <a:cubicBezTo>
                    <a:pt x="73488" y="114644"/>
                    <a:pt x="75475" y="114563"/>
                    <a:pt x="77397" y="114483"/>
                  </a:cubicBezTo>
                  <a:cubicBezTo>
                    <a:pt x="80386" y="114353"/>
                    <a:pt x="83197" y="114240"/>
                    <a:pt x="85216" y="112867"/>
                  </a:cubicBezTo>
                  <a:cubicBezTo>
                    <a:pt x="86734" y="111833"/>
                    <a:pt x="87607" y="110363"/>
                    <a:pt x="87865" y="108344"/>
                  </a:cubicBezTo>
                  <a:cubicBezTo>
                    <a:pt x="88382" y="104370"/>
                    <a:pt x="86331" y="98829"/>
                    <a:pt x="82874" y="94887"/>
                  </a:cubicBezTo>
                  <a:cubicBezTo>
                    <a:pt x="81775" y="93627"/>
                    <a:pt x="80596" y="92400"/>
                    <a:pt x="79400" y="91139"/>
                  </a:cubicBezTo>
                  <a:lnTo>
                    <a:pt x="79400" y="9112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2" name="Free-form: Shape 261">
              <a:extLst>
                <a:ext uri="{FF2B5EF4-FFF2-40B4-BE49-F238E27FC236}">
                  <a16:creationId xmlns:a16="http://schemas.microsoft.com/office/drawing/2014/main" id="{C56C882A-FA2F-EA5F-6BC2-F854B3B5DD33}"/>
                </a:ext>
              </a:extLst>
            </p:cNvPr>
            <p:cNvSpPr/>
            <p:nvPr/>
          </p:nvSpPr>
          <p:spPr>
            <a:xfrm>
              <a:off x="5233769" y="4613609"/>
              <a:ext cx="64820" cy="74003"/>
            </a:xfrm>
            <a:custGeom>
              <a:avLst/>
              <a:gdLst>
                <a:gd name="connsiteX0" fmla="*/ 49205 w 64820"/>
                <a:gd name="connsiteY0" fmla="*/ 9619 h 74003"/>
                <a:gd name="connsiteX1" fmla="*/ 54342 w 64820"/>
                <a:gd name="connsiteY1" fmla="*/ 7600 h 74003"/>
                <a:gd name="connsiteX2" fmla="*/ 56943 w 64820"/>
                <a:gd name="connsiteY2" fmla="*/ 6760 h 74003"/>
                <a:gd name="connsiteX3" fmla="*/ 59398 w 64820"/>
                <a:gd name="connsiteY3" fmla="*/ 4191 h 74003"/>
                <a:gd name="connsiteX4" fmla="*/ 56830 w 64820"/>
                <a:gd name="connsiteY4" fmla="*/ 2172 h 74003"/>
                <a:gd name="connsiteX5" fmla="*/ 31484 w 64820"/>
                <a:gd name="connsiteY5" fmla="*/ 4547 h 74003"/>
                <a:gd name="connsiteX6" fmla="*/ 20321 w 64820"/>
                <a:gd name="connsiteY6" fmla="*/ 27421 h 74003"/>
                <a:gd name="connsiteX7" fmla="*/ 20370 w 64820"/>
                <a:gd name="connsiteY7" fmla="*/ 28067 h 74003"/>
                <a:gd name="connsiteX8" fmla="*/ 19110 w 64820"/>
                <a:gd name="connsiteY8" fmla="*/ 35353 h 74003"/>
                <a:gd name="connsiteX9" fmla="*/ 7915 w 64820"/>
                <a:gd name="connsiteY9" fmla="*/ 38325 h 74003"/>
                <a:gd name="connsiteX10" fmla="*/ 4232 w 64820"/>
                <a:gd name="connsiteY10" fmla="*/ 37970 h 74003"/>
                <a:gd name="connsiteX11" fmla="*/ 2018 w 64820"/>
                <a:gd name="connsiteY11" fmla="*/ 38325 h 74003"/>
                <a:gd name="connsiteX12" fmla="*/ 258 w 64820"/>
                <a:gd name="connsiteY12" fmla="*/ 40506 h 74003"/>
                <a:gd name="connsiteX13" fmla="*/ 871 w 64820"/>
                <a:gd name="connsiteY13" fmla="*/ 45352 h 74003"/>
                <a:gd name="connsiteX14" fmla="*/ 10112 w 64820"/>
                <a:gd name="connsiteY14" fmla="*/ 50602 h 74003"/>
                <a:gd name="connsiteX15" fmla="*/ 13876 w 64820"/>
                <a:gd name="connsiteY15" fmla="*/ 51362 h 74003"/>
                <a:gd name="connsiteX16" fmla="*/ 23358 w 64820"/>
                <a:gd name="connsiteY16" fmla="*/ 53914 h 74003"/>
                <a:gd name="connsiteX17" fmla="*/ 36007 w 64820"/>
                <a:gd name="connsiteY17" fmla="*/ 63994 h 74003"/>
                <a:gd name="connsiteX18" fmla="*/ 39609 w 64820"/>
                <a:gd name="connsiteY18" fmla="*/ 67629 h 74003"/>
                <a:gd name="connsiteX19" fmla="*/ 55020 w 64820"/>
                <a:gd name="connsiteY19" fmla="*/ 73590 h 74003"/>
                <a:gd name="connsiteX20" fmla="*/ 64406 w 64820"/>
                <a:gd name="connsiteY20" fmla="*/ 57807 h 74003"/>
                <a:gd name="connsiteX21" fmla="*/ 63421 w 64820"/>
                <a:gd name="connsiteY21" fmla="*/ 44997 h 74003"/>
                <a:gd name="connsiteX22" fmla="*/ 55537 w 64820"/>
                <a:gd name="connsiteY22" fmla="*/ 33931 h 74003"/>
                <a:gd name="connsiteX23" fmla="*/ 46039 w 64820"/>
                <a:gd name="connsiteY23" fmla="*/ 19635 h 74003"/>
                <a:gd name="connsiteX24" fmla="*/ 49205 w 64820"/>
                <a:gd name="connsiteY24" fmla="*/ 9571 h 74003"/>
                <a:gd name="connsiteX25" fmla="*/ 49205 w 64820"/>
                <a:gd name="connsiteY25" fmla="*/ 9619 h 7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4820" h="74003">
                  <a:moveTo>
                    <a:pt x="49205" y="9619"/>
                  </a:moveTo>
                  <a:cubicBezTo>
                    <a:pt x="50901" y="8569"/>
                    <a:pt x="52726" y="8052"/>
                    <a:pt x="54342" y="7600"/>
                  </a:cubicBezTo>
                  <a:cubicBezTo>
                    <a:pt x="55279" y="7341"/>
                    <a:pt x="56167" y="7099"/>
                    <a:pt x="56943" y="6760"/>
                  </a:cubicBezTo>
                  <a:cubicBezTo>
                    <a:pt x="58380" y="6162"/>
                    <a:pt x="59544" y="4951"/>
                    <a:pt x="59398" y="4191"/>
                  </a:cubicBezTo>
                  <a:cubicBezTo>
                    <a:pt x="59334" y="3901"/>
                    <a:pt x="58978" y="3125"/>
                    <a:pt x="56830" y="2172"/>
                  </a:cubicBezTo>
                  <a:cubicBezTo>
                    <a:pt x="48720" y="-1430"/>
                    <a:pt x="38785" y="-493"/>
                    <a:pt x="31484" y="4547"/>
                  </a:cubicBezTo>
                  <a:cubicBezTo>
                    <a:pt x="24198" y="9587"/>
                    <a:pt x="19804" y="18569"/>
                    <a:pt x="20321" y="27421"/>
                  </a:cubicBezTo>
                  <a:lnTo>
                    <a:pt x="20370" y="28067"/>
                  </a:lnTo>
                  <a:cubicBezTo>
                    <a:pt x="20515" y="30248"/>
                    <a:pt x="20693" y="32962"/>
                    <a:pt x="19110" y="35353"/>
                  </a:cubicBezTo>
                  <a:cubicBezTo>
                    <a:pt x="16347" y="39505"/>
                    <a:pt x="11679" y="38842"/>
                    <a:pt x="7915" y="38325"/>
                  </a:cubicBezTo>
                  <a:cubicBezTo>
                    <a:pt x="6655" y="38148"/>
                    <a:pt x="5362" y="37970"/>
                    <a:pt x="4232" y="37970"/>
                  </a:cubicBezTo>
                  <a:cubicBezTo>
                    <a:pt x="3392" y="37970"/>
                    <a:pt x="2632" y="38067"/>
                    <a:pt x="2018" y="38325"/>
                  </a:cubicBezTo>
                  <a:cubicBezTo>
                    <a:pt x="985" y="38762"/>
                    <a:pt x="484" y="39763"/>
                    <a:pt x="258" y="40506"/>
                  </a:cubicBezTo>
                  <a:cubicBezTo>
                    <a:pt x="-243" y="42105"/>
                    <a:pt x="-1" y="44012"/>
                    <a:pt x="871" y="45352"/>
                  </a:cubicBezTo>
                  <a:cubicBezTo>
                    <a:pt x="2422" y="47775"/>
                    <a:pt x="5524" y="49536"/>
                    <a:pt x="10112" y="50602"/>
                  </a:cubicBezTo>
                  <a:cubicBezTo>
                    <a:pt x="11356" y="50893"/>
                    <a:pt x="12616" y="51119"/>
                    <a:pt x="13876" y="51362"/>
                  </a:cubicBezTo>
                  <a:cubicBezTo>
                    <a:pt x="17010" y="51943"/>
                    <a:pt x="20257" y="52541"/>
                    <a:pt x="23358" y="53914"/>
                  </a:cubicBezTo>
                  <a:cubicBezTo>
                    <a:pt x="28511" y="56192"/>
                    <a:pt x="32324" y="60166"/>
                    <a:pt x="36007" y="63994"/>
                  </a:cubicBezTo>
                  <a:cubicBezTo>
                    <a:pt x="37186" y="65222"/>
                    <a:pt x="38382" y="66466"/>
                    <a:pt x="39609" y="67629"/>
                  </a:cubicBezTo>
                  <a:cubicBezTo>
                    <a:pt x="42178" y="70068"/>
                    <a:pt x="48817" y="75544"/>
                    <a:pt x="55020" y="73590"/>
                  </a:cubicBezTo>
                  <a:cubicBezTo>
                    <a:pt x="61837" y="71458"/>
                    <a:pt x="63857" y="61846"/>
                    <a:pt x="64406" y="57807"/>
                  </a:cubicBezTo>
                  <a:cubicBezTo>
                    <a:pt x="64923" y="53995"/>
                    <a:pt x="65278" y="49084"/>
                    <a:pt x="63421" y="44997"/>
                  </a:cubicBezTo>
                  <a:cubicBezTo>
                    <a:pt x="61870" y="41604"/>
                    <a:pt x="58655" y="37695"/>
                    <a:pt x="55537" y="33931"/>
                  </a:cubicBezTo>
                  <a:cubicBezTo>
                    <a:pt x="51660" y="29247"/>
                    <a:pt x="47654" y="24400"/>
                    <a:pt x="46039" y="19635"/>
                  </a:cubicBezTo>
                  <a:cubicBezTo>
                    <a:pt x="44956" y="16937"/>
                    <a:pt x="45635" y="11800"/>
                    <a:pt x="49205" y="9571"/>
                  </a:cubicBezTo>
                  <a:lnTo>
                    <a:pt x="49205" y="961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3" name="Free-form: Shape 262">
              <a:extLst>
                <a:ext uri="{FF2B5EF4-FFF2-40B4-BE49-F238E27FC236}">
                  <a16:creationId xmlns:a16="http://schemas.microsoft.com/office/drawing/2014/main" id="{C5C69082-1F02-7A14-FB9A-13BB8C729AEC}"/>
                </a:ext>
              </a:extLst>
            </p:cNvPr>
            <p:cNvSpPr/>
            <p:nvPr/>
          </p:nvSpPr>
          <p:spPr>
            <a:xfrm>
              <a:off x="5103349" y="3452614"/>
              <a:ext cx="13085" cy="18318"/>
            </a:xfrm>
            <a:custGeom>
              <a:avLst/>
              <a:gdLst>
                <a:gd name="connsiteX0" fmla="*/ 6322 w 13085"/>
                <a:gd name="connsiteY0" fmla="*/ 16 h 18318"/>
                <a:gd name="connsiteX1" fmla="*/ 5918 w 13085"/>
                <a:gd name="connsiteY1" fmla="*/ 16 h 18318"/>
                <a:gd name="connsiteX2" fmla="*/ 474 w 13085"/>
                <a:gd name="connsiteY2" fmla="*/ 2972 h 18318"/>
                <a:gd name="connsiteX3" fmla="*/ 2203 w 13085"/>
                <a:gd name="connsiteY3" fmla="*/ 13117 h 18318"/>
                <a:gd name="connsiteX4" fmla="*/ 7356 w 13085"/>
                <a:gd name="connsiteY4" fmla="*/ 18319 h 18318"/>
                <a:gd name="connsiteX5" fmla="*/ 7760 w 13085"/>
                <a:gd name="connsiteY5" fmla="*/ 18319 h 18318"/>
                <a:gd name="connsiteX6" fmla="*/ 10749 w 13085"/>
                <a:gd name="connsiteY6" fmla="*/ 17673 h 18318"/>
                <a:gd name="connsiteX7" fmla="*/ 12493 w 13085"/>
                <a:gd name="connsiteY7" fmla="*/ 13133 h 18318"/>
                <a:gd name="connsiteX8" fmla="*/ 11605 w 13085"/>
                <a:gd name="connsiteY8" fmla="*/ 2423 h 18318"/>
                <a:gd name="connsiteX9" fmla="*/ 6306 w 13085"/>
                <a:gd name="connsiteY9" fmla="*/ 0 h 18318"/>
                <a:gd name="connsiteX10" fmla="*/ 6322 w 13085"/>
                <a:gd name="connsiteY10" fmla="*/ 16 h 1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85" h="18318">
                  <a:moveTo>
                    <a:pt x="6322" y="16"/>
                  </a:moveTo>
                  <a:cubicBezTo>
                    <a:pt x="6193" y="16"/>
                    <a:pt x="6048" y="16"/>
                    <a:pt x="5918" y="16"/>
                  </a:cubicBezTo>
                  <a:cubicBezTo>
                    <a:pt x="3528" y="129"/>
                    <a:pt x="1444" y="1276"/>
                    <a:pt x="474" y="2972"/>
                  </a:cubicBezTo>
                  <a:cubicBezTo>
                    <a:pt x="-462" y="4620"/>
                    <a:pt x="-75" y="8869"/>
                    <a:pt x="2203" y="13117"/>
                  </a:cubicBezTo>
                  <a:cubicBezTo>
                    <a:pt x="3996" y="16477"/>
                    <a:pt x="6048" y="18125"/>
                    <a:pt x="7356" y="18319"/>
                  </a:cubicBezTo>
                  <a:lnTo>
                    <a:pt x="7760" y="18319"/>
                  </a:lnTo>
                  <a:cubicBezTo>
                    <a:pt x="9779" y="18222"/>
                    <a:pt x="10377" y="18125"/>
                    <a:pt x="10749" y="17673"/>
                  </a:cubicBezTo>
                  <a:cubicBezTo>
                    <a:pt x="11686" y="16558"/>
                    <a:pt x="12154" y="14830"/>
                    <a:pt x="12493" y="13133"/>
                  </a:cubicBezTo>
                  <a:cubicBezTo>
                    <a:pt x="13511" y="8222"/>
                    <a:pt x="13220" y="4717"/>
                    <a:pt x="11605" y="2423"/>
                  </a:cubicBezTo>
                  <a:cubicBezTo>
                    <a:pt x="10539" y="905"/>
                    <a:pt x="8535" y="0"/>
                    <a:pt x="6306" y="0"/>
                  </a:cubicBezTo>
                  <a:lnTo>
                    <a:pt x="6322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4" name="Free-form: Shape 263">
              <a:extLst>
                <a:ext uri="{FF2B5EF4-FFF2-40B4-BE49-F238E27FC236}">
                  <a16:creationId xmlns:a16="http://schemas.microsoft.com/office/drawing/2014/main" id="{6A8075D9-921C-2B6C-C576-F671052A82A0}"/>
                </a:ext>
              </a:extLst>
            </p:cNvPr>
            <p:cNvSpPr/>
            <p:nvPr/>
          </p:nvSpPr>
          <p:spPr>
            <a:xfrm>
              <a:off x="5084578" y="3567131"/>
              <a:ext cx="43064" cy="28417"/>
            </a:xfrm>
            <a:custGeom>
              <a:avLst/>
              <a:gdLst>
                <a:gd name="connsiteX0" fmla="*/ 3544 w 43064"/>
                <a:gd name="connsiteY0" fmla="*/ 28157 h 28417"/>
                <a:gd name="connsiteX1" fmla="*/ 6226 w 43064"/>
                <a:gd name="connsiteY1" fmla="*/ 27915 h 28417"/>
                <a:gd name="connsiteX2" fmla="*/ 7873 w 43064"/>
                <a:gd name="connsiteY2" fmla="*/ 25411 h 28417"/>
                <a:gd name="connsiteX3" fmla="*/ 8245 w 43064"/>
                <a:gd name="connsiteY3" fmla="*/ 24732 h 28417"/>
                <a:gd name="connsiteX4" fmla="*/ 15708 w 43064"/>
                <a:gd name="connsiteY4" fmla="*/ 15540 h 28417"/>
                <a:gd name="connsiteX5" fmla="*/ 23349 w 43064"/>
                <a:gd name="connsiteY5" fmla="*/ 12859 h 28417"/>
                <a:gd name="connsiteX6" fmla="*/ 27662 w 43064"/>
                <a:gd name="connsiteY6" fmla="*/ 15153 h 28417"/>
                <a:gd name="connsiteX7" fmla="*/ 28712 w 43064"/>
                <a:gd name="connsiteY7" fmla="*/ 15944 h 28417"/>
                <a:gd name="connsiteX8" fmla="*/ 28938 w 43064"/>
                <a:gd name="connsiteY8" fmla="*/ 16106 h 28417"/>
                <a:gd name="connsiteX9" fmla="*/ 39633 w 43064"/>
                <a:gd name="connsiteY9" fmla="*/ 19385 h 28417"/>
                <a:gd name="connsiteX10" fmla="*/ 40876 w 43064"/>
                <a:gd name="connsiteY10" fmla="*/ 17463 h 28417"/>
                <a:gd name="connsiteX11" fmla="*/ 42928 w 43064"/>
                <a:gd name="connsiteY11" fmla="*/ 8109 h 28417"/>
                <a:gd name="connsiteX12" fmla="*/ 33914 w 43064"/>
                <a:gd name="connsiteY12" fmla="*/ 242 h 28417"/>
                <a:gd name="connsiteX13" fmla="*/ 31103 w 43064"/>
                <a:gd name="connsiteY13" fmla="*/ 0 h 28417"/>
                <a:gd name="connsiteX14" fmla="*/ 19924 w 43064"/>
                <a:gd name="connsiteY14" fmla="*/ 2859 h 28417"/>
                <a:gd name="connsiteX15" fmla="*/ 5160 w 43064"/>
                <a:gd name="connsiteY15" fmla="*/ 13360 h 28417"/>
                <a:gd name="connsiteX16" fmla="*/ 71 w 43064"/>
                <a:gd name="connsiteY16" fmla="*/ 24150 h 28417"/>
                <a:gd name="connsiteX17" fmla="*/ 3544 w 43064"/>
                <a:gd name="connsiteY17" fmla="*/ 28173 h 28417"/>
                <a:gd name="connsiteX18" fmla="*/ 3544 w 43064"/>
                <a:gd name="connsiteY18" fmla="*/ 28157 h 2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064" h="28417">
                  <a:moveTo>
                    <a:pt x="3544" y="28157"/>
                  </a:moveTo>
                  <a:cubicBezTo>
                    <a:pt x="4303" y="28448"/>
                    <a:pt x="5386" y="28641"/>
                    <a:pt x="6226" y="27915"/>
                  </a:cubicBezTo>
                  <a:cubicBezTo>
                    <a:pt x="6840" y="27381"/>
                    <a:pt x="7340" y="26428"/>
                    <a:pt x="7873" y="25411"/>
                  </a:cubicBezTo>
                  <a:lnTo>
                    <a:pt x="8245" y="24732"/>
                  </a:lnTo>
                  <a:cubicBezTo>
                    <a:pt x="10151" y="21210"/>
                    <a:pt x="12655" y="18125"/>
                    <a:pt x="15708" y="15540"/>
                  </a:cubicBezTo>
                  <a:cubicBezTo>
                    <a:pt x="16694" y="14700"/>
                    <a:pt x="19714" y="12164"/>
                    <a:pt x="23349" y="12859"/>
                  </a:cubicBezTo>
                  <a:cubicBezTo>
                    <a:pt x="25207" y="13214"/>
                    <a:pt x="26564" y="14280"/>
                    <a:pt x="27662" y="15153"/>
                  </a:cubicBezTo>
                  <a:cubicBezTo>
                    <a:pt x="28018" y="15427"/>
                    <a:pt x="28357" y="15702"/>
                    <a:pt x="28712" y="15944"/>
                  </a:cubicBezTo>
                  <a:cubicBezTo>
                    <a:pt x="28793" y="15993"/>
                    <a:pt x="28874" y="16057"/>
                    <a:pt x="28938" y="16106"/>
                  </a:cubicBezTo>
                  <a:cubicBezTo>
                    <a:pt x="30409" y="16994"/>
                    <a:pt x="37759" y="19240"/>
                    <a:pt x="39633" y="19385"/>
                  </a:cubicBezTo>
                  <a:cubicBezTo>
                    <a:pt x="39794" y="19272"/>
                    <a:pt x="40214" y="18884"/>
                    <a:pt x="40876" y="17463"/>
                  </a:cubicBezTo>
                  <a:cubicBezTo>
                    <a:pt x="42201" y="14571"/>
                    <a:pt x="43493" y="11195"/>
                    <a:pt x="42928" y="8109"/>
                  </a:cubicBezTo>
                  <a:cubicBezTo>
                    <a:pt x="42153" y="3861"/>
                    <a:pt x="37807" y="937"/>
                    <a:pt x="33914" y="242"/>
                  </a:cubicBezTo>
                  <a:cubicBezTo>
                    <a:pt x="33009" y="81"/>
                    <a:pt x="32072" y="0"/>
                    <a:pt x="31103" y="0"/>
                  </a:cubicBezTo>
                  <a:cubicBezTo>
                    <a:pt x="27759" y="0"/>
                    <a:pt x="24011" y="953"/>
                    <a:pt x="19924" y="2859"/>
                  </a:cubicBezTo>
                  <a:cubicBezTo>
                    <a:pt x="14448" y="5395"/>
                    <a:pt x="9343" y="9030"/>
                    <a:pt x="5160" y="13360"/>
                  </a:cubicBezTo>
                  <a:cubicBezTo>
                    <a:pt x="1331" y="17333"/>
                    <a:pt x="-381" y="20968"/>
                    <a:pt x="71" y="24150"/>
                  </a:cubicBezTo>
                  <a:cubicBezTo>
                    <a:pt x="297" y="25814"/>
                    <a:pt x="1767" y="27494"/>
                    <a:pt x="3544" y="28173"/>
                  </a:cubicBezTo>
                  <a:lnTo>
                    <a:pt x="3544" y="2815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5" name="Free-form: Shape 264">
              <a:extLst>
                <a:ext uri="{FF2B5EF4-FFF2-40B4-BE49-F238E27FC236}">
                  <a16:creationId xmlns:a16="http://schemas.microsoft.com/office/drawing/2014/main" id="{4DDDAD1E-D8FB-00E7-D32E-AA0270C6235E}"/>
                </a:ext>
              </a:extLst>
            </p:cNvPr>
            <p:cNvSpPr/>
            <p:nvPr/>
          </p:nvSpPr>
          <p:spPr>
            <a:xfrm>
              <a:off x="6040443" y="4978443"/>
              <a:ext cx="43526" cy="63276"/>
            </a:xfrm>
            <a:custGeom>
              <a:avLst/>
              <a:gdLst>
                <a:gd name="connsiteX0" fmla="*/ 29354 w 43526"/>
                <a:gd name="connsiteY0" fmla="*/ 49529 h 63276"/>
                <a:gd name="connsiteX1" fmla="*/ 40808 w 43526"/>
                <a:gd name="connsiteY1" fmla="*/ 42873 h 63276"/>
                <a:gd name="connsiteX2" fmla="*/ 43425 w 43526"/>
                <a:gd name="connsiteY2" fmla="*/ 34521 h 63276"/>
                <a:gd name="connsiteX3" fmla="*/ 41034 w 43526"/>
                <a:gd name="connsiteY3" fmla="*/ 30806 h 63276"/>
                <a:gd name="connsiteX4" fmla="*/ 39225 w 43526"/>
                <a:gd name="connsiteY4" fmla="*/ 30063 h 63276"/>
                <a:gd name="connsiteX5" fmla="*/ 34088 w 43526"/>
                <a:gd name="connsiteY5" fmla="*/ 26832 h 63276"/>
                <a:gd name="connsiteX6" fmla="*/ 34233 w 43526"/>
                <a:gd name="connsiteY6" fmla="*/ 16170 h 63276"/>
                <a:gd name="connsiteX7" fmla="*/ 34927 w 43526"/>
                <a:gd name="connsiteY7" fmla="*/ 14312 h 63276"/>
                <a:gd name="connsiteX8" fmla="*/ 30485 w 43526"/>
                <a:gd name="connsiteY8" fmla="*/ 1648 h 63276"/>
                <a:gd name="connsiteX9" fmla="*/ 24621 w 43526"/>
                <a:gd name="connsiteY9" fmla="*/ 0 h 63276"/>
                <a:gd name="connsiteX10" fmla="*/ 17109 w 43526"/>
                <a:gd name="connsiteY10" fmla="*/ 2778 h 63276"/>
                <a:gd name="connsiteX11" fmla="*/ 17368 w 43526"/>
                <a:gd name="connsiteY11" fmla="*/ 13053 h 63276"/>
                <a:gd name="connsiteX12" fmla="*/ 18240 w 43526"/>
                <a:gd name="connsiteY12" fmla="*/ 20338 h 63276"/>
                <a:gd name="connsiteX13" fmla="*/ 18159 w 43526"/>
                <a:gd name="connsiteY13" fmla="*/ 21049 h 63276"/>
                <a:gd name="connsiteX14" fmla="*/ 7078 w 43526"/>
                <a:gd name="connsiteY14" fmla="*/ 26267 h 63276"/>
                <a:gd name="connsiteX15" fmla="*/ 681 w 43526"/>
                <a:gd name="connsiteY15" fmla="*/ 27333 h 63276"/>
                <a:gd name="connsiteX16" fmla="*/ 18 w 43526"/>
                <a:gd name="connsiteY16" fmla="*/ 29417 h 63276"/>
                <a:gd name="connsiteX17" fmla="*/ 3637 w 43526"/>
                <a:gd name="connsiteY17" fmla="*/ 34893 h 63276"/>
                <a:gd name="connsiteX18" fmla="*/ 5107 w 43526"/>
                <a:gd name="connsiteY18" fmla="*/ 35781 h 63276"/>
                <a:gd name="connsiteX19" fmla="*/ 10842 w 43526"/>
                <a:gd name="connsiteY19" fmla="*/ 40870 h 63276"/>
                <a:gd name="connsiteX20" fmla="*/ 9533 w 43526"/>
                <a:gd name="connsiteY20" fmla="*/ 52662 h 63276"/>
                <a:gd name="connsiteX21" fmla="*/ 8435 w 43526"/>
                <a:gd name="connsiteY21" fmla="*/ 54472 h 63276"/>
                <a:gd name="connsiteX22" fmla="*/ 5882 w 43526"/>
                <a:gd name="connsiteY22" fmla="*/ 60045 h 63276"/>
                <a:gd name="connsiteX23" fmla="*/ 6851 w 43526"/>
                <a:gd name="connsiteY23" fmla="*/ 62888 h 63276"/>
                <a:gd name="connsiteX24" fmla="*/ 7675 w 43526"/>
                <a:gd name="connsiteY24" fmla="*/ 63260 h 63276"/>
                <a:gd name="connsiteX25" fmla="*/ 10050 w 43526"/>
                <a:gd name="connsiteY25" fmla="*/ 61563 h 63276"/>
                <a:gd name="connsiteX26" fmla="*/ 24960 w 43526"/>
                <a:gd name="connsiteY26" fmla="*/ 51451 h 63276"/>
                <a:gd name="connsiteX27" fmla="*/ 29338 w 43526"/>
                <a:gd name="connsiteY27" fmla="*/ 49545 h 63276"/>
                <a:gd name="connsiteX28" fmla="*/ 29354 w 43526"/>
                <a:gd name="connsiteY28" fmla="*/ 49529 h 6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3526" h="63276">
                  <a:moveTo>
                    <a:pt x="29354" y="49529"/>
                  </a:moveTo>
                  <a:cubicBezTo>
                    <a:pt x="33748" y="47687"/>
                    <a:pt x="37884" y="45959"/>
                    <a:pt x="40808" y="42873"/>
                  </a:cubicBezTo>
                  <a:cubicBezTo>
                    <a:pt x="42795" y="40773"/>
                    <a:pt x="43877" y="37332"/>
                    <a:pt x="43425" y="34521"/>
                  </a:cubicBezTo>
                  <a:cubicBezTo>
                    <a:pt x="43150" y="32761"/>
                    <a:pt x="42342" y="31517"/>
                    <a:pt x="41034" y="30806"/>
                  </a:cubicBezTo>
                  <a:cubicBezTo>
                    <a:pt x="40533" y="30531"/>
                    <a:pt x="39903" y="30305"/>
                    <a:pt x="39225" y="30063"/>
                  </a:cubicBezTo>
                  <a:cubicBezTo>
                    <a:pt x="37577" y="29465"/>
                    <a:pt x="35525" y="28722"/>
                    <a:pt x="34088" y="26832"/>
                  </a:cubicBezTo>
                  <a:cubicBezTo>
                    <a:pt x="31438" y="23310"/>
                    <a:pt x="33054" y="19191"/>
                    <a:pt x="34233" y="16170"/>
                  </a:cubicBezTo>
                  <a:cubicBezTo>
                    <a:pt x="34475" y="15540"/>
                    <a:pt x="34734" y="14910"/>
                    <a:pt x="34927" y="14312"/>
                  </a:cubicBezTo>
                  <a:cubicBezTo>
                    <a:pt x="36430" y="9790"/>
                    <a:pt x="34475" y="4232"/>
                    <a:pt x="30485" y="1648"/>
                  </a:cubicBezTo>
                  <a:cubicBezTo>
                    <a:pt x="28773" y="533"/>
                    <a:pt x="26705" y="0"/>
                    <a:pt x="24621" y="0"/>
                  </a:cubicBezTo>
                  <a:cubicBezTo>
                    <a:pt x="21875" y="0"/>
                    <a:pt x="19096" y="953"/>
                    <a:pt x="17109" y="2778"/>
                  </a:cubicBezTo>
                  <a:cubicBezTo>
                    <a:pt x="15817" y="3958"/>
                    <a:pt x="16786" y="9644"/>
                    <a:pt x="17368" y="13053"/>
                  </a:cubicBezTo>
                  <a:cubicBezTo>
                    <a:pt x="17820" y="15702"/>
                    <a:pt x="18240" y="18190"/>
                    <a:pt x="18240" y="20338"/>
                  </a:cubicBezTo>
                  <a:cubicBezTo>
                    <a:pt x="18240" y="20580"/>
                    <a:pt x="18208" y="20823"/>
                    <a:pt x="18159" y="21049"/>
                  </a:cubicBezTo>
                  <a:cubicBezTo>
                    <a:pt x="16932" y="25928"/>
                    <a:pt x="11455" y="26121"/>
                    <a:pt x="7078" y="26267"/>
                  </a:cubicBezTo>
                  <a:cubicBezTo>
                    <a:pt x="4768" y="26348"/>
                    <a:pt x="1601" y="26460"/>
                    <a:pt x="681" y="27333"/>
                  </a:cubicBezTo>
                  <a:cubicBezTo>
                    <a:pt x="341" y="27656"/>
                    <a:pt x="-95" y="28221"/>
                    <a:pt x="18" y="29417"/>
                  </a:cubicBezTo>
                  <a:cubicBezTo>
                    <a:pt x="196" y="31355"/>
                    <a:pt x="1714" y="33666"/>
                    <a:pt x="3637" y="34893"/>
                  </a:cubicBezTo>
                  <a:cubicBezTo>
                    <a:pt x="4105" y="35200"/>
                    <a:pt x="4606" y="35491"/>
                    <a:pt x="5107" y="35781"/>
                  </a:cubicBezTo>
                  <a:cubicBezTo>
                    <a:pt x="7158" y="36977"/>
                    <a:pt x="9485" y="38318"/>
                    <a:pt x="10842" y="40870"/>
                  </a:cubicBezTo>
                  <a:cubicBezTo>
                    <a:pt x="12570" y="44133"/>
                    <a:pt x="12118" y="48204"/>
                    <a:pt x="9533" y="52662"/>
                  </a:cubicBezTo>
                  <a:cubicBezTo>
                    <a:pt x="9178" y="53260"/>
                    <a:pt x="8806" y="53858"/>
                    <a:pt x="8435" y="54472"/>
                  </a:cubicBezTo>
                  <a:cubicBezTo>
                    <a:pt x="7239" y="56394"/>
                    <a:pt x="6108" y="58220"/>
                    <a:pt x="5882" y="60045"/>
                  </a:cubicBezTo>
                  <a:cubicBezTo>
                    <a:pt x="5769" y="61014"/>
                    <a:pt x="6173" y="62210"/>
                    <a:pt x="6851" y="62888"/>
                  </a:cubicBezTo>
                  <a:cubicBezTo>
                    <a:pt x="7288" y="63324"/>
                    <a:pt x="7578" y="63292"/>
                    <a:pt x="7675" y="63260"/>
                  </a:cubicBezTo>
                  <a:cubicBezTo>
                    <a:pt x="8322" y="63163"/>
                    <a:pt x="9242" y="62307"/>
                    <a:pt x="10050" y="61563"/>
                  </a:cubicBezTo>
                  <a:cubicBezTo>
                    <a:pt x="14557" y="57347"/>
                    <a:pt x="19533" y="53987"/>
                    <a:pt x="24960" y="51451"/>
                  </a:cubicBezTo>
                  <a:cubicBezTo>
                    <a:pt x="26398" y="50773"/>
                    <a:pt x="27868" y="50159"/>
                    <a:pt x="29338" y="49545"/>
                  </a:cubicBezTo>
                  <a:lnTo>
                    <a:pt x="29354" y="4952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6" name="Free-form: Shape 265">
              <a:extLst>
                <a:ext uri="{FF2B5EF4-FFF2-40B4-BE49-F238E27FC236}">
                  <a16:creationId xmlns:a16="http://schemas.microsoft.com/office/drawing/2014/main" id="{7332C03D-FD4E-9B41-5C72-2D0526180396}"/>
                </a:ext>
              </a:extLst>
            </p:cNvPr>
            <p:cNvSpPr/>
            <p:nvPr/>
          </p:nvSpPr>
          <p:spPr>
            <a:xfrm>
              <a:off x="6002407" y="5218220"/>
              <a:ext cx="19396" cy="9404"/>
            </a:xfrm>
            <a:custGeom>
              <a:avLst/>
              <a:gdLst>
                <a:gd name="connsiteX0" fmla="*/ 12434 w 19396"/>
                <a:gd name="connsiteY0" fmla="*/ 533 h 9404"/>
                <a:gd name="connsiteX1" fmla="*/ 12304 w 19396"/>
                <a:gd name="connsiteY1" fmla="*/ 517 h 9404"/>
                <a:gd name="connsiteX2" fmla="*/ 7264 w 19396"/>
                <a:gd name="connsiteY2" fmla="*/ 0 h 9404"/>
                <a:gd name="connsiteX3" fmla="*/ 3258 w 19396"/>
                <a:gd name="connsiteY3" fmla="*/ 678 h 9404"/>
                <a:gd name="connsiteX4" fmla="*/ 124 w 19396"/>
                <a:gd name="connsiteY4" fmla="*/ 5557 h 9404"/>
                <a:gd name="connsiteX5" fmla="*/ 6925 w 19396"/>
                <a:gd name="connsiteY5" fmla="*/ 8998 h 9404"/>
                <a:gd name="connsiteX6" fmla="*/ 15454 w 19396"/>
                <a:gd name="connsiteY6" fmla="*/ 8804 h 9404"/>
                <a:gd name="connsiteX7" fmla="*/ 19396 w 19396"/>
                <a:gd name="connsiteY7" fmla="*/ 4216 h 9404"/>
                <a:gd name="connsiteX8" fmla="*/ 12434 w 19396"/>
                <a:gd name="connsiteY8" fmla="*/ 533 h 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96" h="9404">
                  <a:moveTo>
                    <a:pt x="12434" y="533"/>
                  </a:moveTo>
                  <a:cubicBezTo>
                    <a:pt x="12434" y="533"/>
                    <a:pt x="12353" y="533"/>
                    <a:pt x="12304" y="517"/>
                  </a:cubicBezTo>
                  <a:cubicBezTo>
                    <a:pt x="10624" y="243"/>
                    <a:pt x="8912" y="0"/>
                    <a:pt x="7264" y="0"/>
                  </a:cubicBezTo>
                  <a:cubicBezTo>
                    <a:pt x="5843" y="0"/>
                    <a:pt x="4486" y="178"/>
                    <a:pt x="3258" y="678"/>
                  </a:cubicBezTo>
                  <a:cubicBezTo>
                    <a:pt x="1271" y="1486"/>
                    <a:pt x="-490" y="3748"/>
                    <a:pt x="124" y="5557"/>
                  </a:cubicBezTo>
                  <a:cubicBezTo>
                    <a:pt x="835" y="7657"/>
                    <a:pt x="4211" y="8594"/>
                    <a:pt x="6925" y="8998"/>
                  </a:cubicBezTo>
                  <a:cubicBezTo>
                    <a:pt x="9833" y="9434"/>
                    <a:pt x="12870" y="9709"/>
                    <a:pt x="15454" y="8804"/>
                  </a:cubicBezTo>
                  <a:cubicBezTo>
                    <a:pt x="17377" y="8126"/>
                    <a:pt x="19412" y="6284"/>
                    <a:pt x="19396" y="4216"/>
                  </a:cubicBezTo>
                  <a:cubicBezTo>
                    <a:pt x="19396" y="3263"/>
                    <a:pt x="16165" y="969"/>
                    <a:pt x="12434" y="53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7" name="Free-form: Shape 266">
              <a:extLst>
                <a:ext uri="{FF2B5EF4-FFF2-40B4-BE49-F238E27FC236}">
                  <a16:creationId xmlns:a16="http://schemas.microsoft.com/office/drawing/2014/main" id="{2FD04C2A-5D0D-0D16-A95C-D2ED013AD59D}"/>
                </a:ext>
              </a:extLst>
            </p:cNvPr>
            <p:cNvSpPr/>
            <p:nvPr/>
          </p:nvSpPr>
          <p:spPr>
            <a:xfrm>
              <a:off x="5088341" y="4439393"/>
              <a:ext cx="18383" cy="21226"/>
            </a:xfrm>
            <a:custGeom>
              <a:avLst/>
              <a:gdLst>
                <a:gd name="connsiteX0" fmla="*/ 8698 w 18383"/>
                <a:gd name="connsiteY0" fmla="*/ 21194 h 21226"/>
                <a:gd name="connsiteX1" fmla="*/ 18245 w 18383"/>
                <a:gd name="connsiteY1" fmla="*/ 13230 h 21226"/>
                <a:gd name="connsiteX2" fmla="*/ 12139 w 18383"/>
                <a:gd name="connsiteY2" fmla="*/ 1987 h 21226"/>
                <a:gd name="connsiteX3" fmla="*/ 11994 w 18383"/>
                <a:gd name="connsiteY3" fmla="*/ 1922 h 21226"/>
                <a:gd name="connsiteX4" fmla="*/ 9668 w 18383"/>
                <a:gd name="connsiteY4" fmla="*/ 517 h 21226"/>
                <a:gd name="connsiteX5" fmla="*/ 8828 w 18383"/>
                <a:gd name="connsiteY5" fmla="*/ 0 h 21226"/>
                <a:gd name="connsiteX6" fmla="*/ 8779 w 18383"/>
                <a:gd name="connsiteY6" fmla="*/ 0 h 21226"/>
                <a:gd name="connsiteX7" fmla="*/ 7600 w 18383"/>
                <a:gd name="connsiteY7" fmla="*/ 259 h 21226"/>
                <a:gd name="connsiteX8" fmla="*/ 1817 w 18383"/>
                <a:gd name="connsiteY8" fmla="*/ 6139 h 21226"/>
                <a:gd name="connsiteX9" fmla="*/ 7 w 18383"/>
                <a:gd name="connsiteY9" fmla="*/ 12875 h 21226"/>
                <a:gd name="connsiteX10" fmla="*/ 8714 w 18383"/>
                <a:gd name="connsiteY10" fmla="*/ 21227 h 21226"/>
                <a:gd name="connsiteX11" fmla="*/ 8698 w 18383"/>
                <a:gd name="connsiteY11" fmla="*/ 21194 h 2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83" h="21226">
                  <a:moveTo>
                    <a:pt x="8698" y="21194"/>
                  </a:moveTo>
                  <a:cubicBezTo>
                    <a:pt x="13092" y="21372"/>
                    <a:pt x="17454" y="17640"/>
                    <a:pt x="18245" y="13230"/>
                  </a:cubicBezTo>
                  <a:cubicBezTo>
                    <a:pt x="19037" y="8788"/>
                    <a:pt x="16355" y="3861"/>
                    <a:pt x="12139" y="1987"/>
                  </a:cubicBezTo>
                  <a:cubicBezTo>
                    <a:pt x="12091" y="1971"/>
                    <a:pt x="12042" y="1939"/>
                    <a:pt x="11994" y="1922"/>
                  </a:cubicBezTo>
                  <a:cubicBezTo>
                    <a:pt x="10976" y="1389"/>
                    <a:pt x="10217" y="889"/>
                    <a:pt x="9668" y="517"/>
                  </a:cubicBezTo>
                  <a:cubicBezTo>
                    <a:pt x="9361" y="307"/>
                    <a:pt x="8941" y="32"/>
                    <a:pt x="8828" y="0"/>
                  </a:cubicBezTo>
                  <a:cubicBezTo>
                    <a:pt x="8828" y="0"/>
                    <a:pt x="8828" y="0"/>
                    <a:pt x="8779" y="0"/>
                  </a:cubicBezTo>
                  <a:cubicBezTo>
                    <a:pt x="8666" y="0"/>
                    <a:pt x="8343" y="32"/>
                    <a:pt x="7600" y="259"/>
                  </a:cubicBezTo>
                  <a:cubicBezTo>
                    <a:pt x="4886" y="1115"/>
                    <a:pt x="2947" y="3926"/>
                    <a:pt x="1817" y="6139"/>
                  </a:cubicBezTo>
                  <a:cubicBezTo>
                    <a:pt x="508" y="8691"/>
                    <a:pt x="-73" y="10888"/>
                    <a:pt x="7" y="12875"/>
                  </a:cubicBezTo>
                  <a:cubicBezTo>
                    <a:pt x="185" y="17156"/>
                    <a:pt x="4337" y="21130"/>
                    <a:pt x="8714" y="21227"/>
                  </a:cubicBezTo>
                  <a:lnTo>
                    <a:pt x="8698" y="2119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8" name="Free-form: Shape 267">
              <a:extLst>
                <a:ext uri="{FF2B5EF4-FFF2-40B4-BE49-F238E27FC236}">
                  <a16:creationId xmlns:a16="http://schemas.microsoft.com/office/drawing/2014/main" id="{BCEF6868-8CC9-63EC-8924-BC59FBA43DA2}"/>
                </a:ext>
              </a:extLst>
            </p:cNvPr>
            <p:cNvSpPr/>
            <p:nvPr/>
          </p:nvSpPr>
          <p:spPr>
            <a:xfrm>
              <a:off x="5969625" y="5214521"/>
              <a:ext cx="19498" cy="26204"/>
            </a:xfrm>
            <a:custGeom>
              <a:avLst/>
              <a:gdLst>
                <a:gd name="connsiteX0" fmla="*/ 15977 w 19498"/>
                <a:gd name="connsiteY0" fmla="*/ 275 h 26204"/>
                <a:gd name="connsiteX1" fmla="*/ 14410 w 19498"/>
                <a:gd name="connsiteY1" fmla="*/ 0 h 26204"/>
                <a:gd name="connsiteX2" fmla="*/ 6914 w 19498"/>
                <a:gd name="connsiteY2" fmla="*/ 4055 h 26204"/>
                <a:gd name="connsiteX3" fmla="*/ 0 w 19498"/>
                <a:gd name="connsiteY3" fmla="*/ 17301 h 26204"/>
                <a:gd name="connsiteX4" fmla="*/ 2908 w 19498"/>
                <a:gd name="connsiteY4" fmla="*/ 24215 h 26204"/>
                <a:gd name="connsiteX5" fmla="*/ 7463 w 19498"/>
                <a:gd name="connsiteY5" fmla="*/ 26202 h 26204"/>
                <a:gd name="connsiteX6" fmla="*/ 17317 w 19498"/>
                <a:gd name="connsiteY6" fmla="*/ 13489 h 26204"/>
                <a:gd name="connsiteX7" fmla="*/ 17317 w 19498"/>
                <a:gd name="connsiteY7" fmla="*/ 13457 h 26204"/>
                <a:gd name="connsiteX8" fmla="*/ 18497 w 19498"/>
                <a:gd name="connsiteY8" fmla="*/ 10000 h 26204"/>
                <a:gd name="connsiteX9" fmla="*/ 19466 w 19498"/>
                <a:gd name="connsiteY9" fmla="*/ 5702 h 26204"/>
                <a:gd name="connsiteX10" fmla="*/ 15977 w 19498"/>
                <a:gd name="connsiteY10" fmla="*/ 275 h 26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498" h="26204">
                  <a:moveTo>
                    <a:pt x="15977" y="275"/>
                  </a:moveTo>
                  <a:cubicBezTo>
                    <a:pt x="15460" y="81"/>
                    <a:pt x="14943" y="0"/>
                    <a:pt x="14410" y="0"/>
                  </a:cubicBezTo>
                  <a:cubicBezTo>
                    <a:pt x="11421" y="0"/>
                    <a:pt x="8271" y="2730"/>
                    <a:pt x="6914" y="4055"/>
                  </a:cubicBezTo>
                  <a:cubicBezTo>
                    <a:pt x="3780" y="7124"/>
                    <a:pt x="49" y="11906"/>
                    <a:pt x="0" y="17301"/>
                  </a:cubicBezTo>
                  <a:cubicBezTo>
                    <a:pt x="-16" y="19789"/>
                    <a:pt x="1099" y="22438"/>
                    <a:pt x="2908" y="24215"/>
                  </a:cubicBezTo>
                  <a:cubicBezTo>
                    <a:pt x="3861" y="25152"/>
                    <a:pt x="5444" y="26267"/>
                    <a:pt x="7463" y="26202"/>
                  </a:cubicBezTo>
                  <a:cubicBezTo>
                    <a:pt x="12536" y="26073"/>
                    <a:pt x="15880" y="19547"/>
                    <a:pt x="17317" y="13489"/>
                  </a:cubicBezTo>
                  <a:cubicBezTo>
                    <a:pt x="17317" y="13489"/>
                    <a:pt x="17317" y="13473"/>
                    <a:pt x="17317" y="13457"/>
                  </a:cubicBezTo>
                  <a:cubicBezTo>
                    <a:pt x="17641" y="12148"/>
                    <a:pt x="18093" y="11017"/>
                    <a:pt x="18497" y="10000"/>
                  </a:cubicBezTo>
                  <a:cubicBezTo>
                    <a:pt x="19159" y="8336"/>
                    <a:pt x="19627" y="7124"/>
                    <a:pt x="19466" y="5702"/>
                  </a:cubicBezTo>
                  <a:cubicBezTo>
                    <a:pt x="19207" y="3570"/>
                    <a:pt x="18028" y="1050"/>
                    <a:pt x="15977" y="27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9" name="Free-form: Shape 268">
              <a:extLst>
                <a:ext uri="{FF2B5EF4-FFF2-40B4-BE49-F238E27FC236}">
                  <a16:creationId xmlns:a16="http://schemas.microsoft.com/office/drawing/2014/main" id="{462A209C-9582-9DEA-58C6-5F77908BC731}"/>
                </a:ext>
              </a:extLst>
            </p:cNvPr>
            <p:cNvSpPr/>
            <p:nvPr/>
          </p:nvSpPr>
          <p:spPr>
            <a:xfrm>
              <a:off x="6052404" y="4770878"/>
              <a:ext cx="36248" cy="42099"/>
            </a:xfrm>
            <a:custGeom>
              <a:avLst/>
              <a:gdLst>
                <a:gd name="connsiteX0" fmla="*/ 32093 w 36248"/>
                <a:gd name="connsiteY0" fmla="*/ 1454 h 42099"/>
                <a:gd name="connsiteX1" fmla="*/ 22998 w 36248"/>
                <a:gd name="connsiteY1" fmla="*/ 0 h 42099"/>
                <a:gd name="connsiteX2" fmla="*/ 7409 w 36248"/>
                <a:gd name="connsiteY2" fmla="*/ 4426 h 42099"/>
                <a:gd name="connsiteX3" fmla="*/ 6343 w 36248"/>
                <a:gd name="connsiteY3" fmla="*/ 5282 h 42099"/>
                <a:gd name="connsiteX4" fmla="*/ 6343 w 36248"/>
                <a:gd name="connsiteY4" fmla="*/ 5347 h 42099"/>
                <a:gd name="connsiteX5" fmla="*/ 6004 w 36248"/>
                <a:gd name="connsiteY5" fmla="*/ 6591 h 42099"/>
                <a:gd name="connsiteX6" fmla="*/ 398 w 36248"/>
                <a:gd name="connsiteY6" fmla="*/ 40741 h 42099"/>
                <a:gd name="connsiteX7" fmla="*/ 1060 w 36248"/>
                <a:gd name="connsiteY7" fmla="*/ 41985 h 42099"/>
                <a:gd name="connsiteX8" fmla="*/ 1674 w 36248"/>
                <a:gd name="connsiteY8" fmla="*/ 42082 h 42099"/>
                <a:gd name="connsiteX9" fmla="*/ 3855 w 36248"/>
                <a:gd name="connsiteY9" fmla="*/ 40612 h 42099"/>
                <a:gd name="connsiteX10" fmla="*/ 5503 w 36248"/>
                <a:gd name="connsiteY10" fmla="*/ 36718 h 42099"/>
                <a:gd name="connsiteX11" fmla="*/ 6698 w 36248"/>
                <a:gd name="connsiteY11" fmla="*/ 33471 h 42099"/>
                <a:gd name="connsiteX12" fmla="*/ 22433 w 36248"/>
                <a:gd name="connsiteY12" fmla="*/ 19708 h 42099"/>
                <a:gd name="connsiteX13" fmla="*/ 35727 w 36248"/>
                <a:gd name="connsiteY13" fmla="*/ 8255 h 42099"/>
                <a:gd name="connsiteX14" fmla="*/ 35695 w 36248"/>
                <a:gd name="connsiteY14" fmla="*/ 3570 h 42099"/>
                <a:gd name="connsiteX15" fmla="*/ 32093 w 36248"/>
                <a:gd name="connsiteY15" fmla="*/ 1438 h 42099"/>
                <a:gd name="connsiteX16" fmla="*/ 32093 w 36248"/>
                <a:gd name="connsiteY16" fmla="*/ 1454 h 42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248" h="42099">
                  <a:moveTo>
                    <a:pt x="32093" y="1454"/>
                  </a:moveTo>
                  <a:cubicBezTo>
                    <a:pt x="29153" y="485"/>
                    <a:pt x="26067" y="0"/>
                    <a:pt x="22998" y="0"/>
                  </a:cubicBezTo>
                  <a:cubicBezTo>
                    <a:pt x="17538" y="0"/>
                    <a:pt x="12078" y="1502"/>
                    <a:pt x="7409" y="4426"/>
                  </a:cubicBezTo>
                  <a:cubicBezTo>
                    <a:pt x="6553" y="4959"/>
                    <a:pt x="6375" y="5218"/>
                    <a:pt x="6343" y="5282"/>
                  </a:cubicBezTo>
                  <a:cubicBezTo>
                    <a:pt x="6343" y="5331"/>
                    <a:pt x="6343" y="5298"/>
                    <a:pt x="6343" y="5347"/>
                  </a:cubicBezTo>
                  <a:lnTo>
                    <a:pt x="6004" y="6591"/>
                  </a:lnTo>
                  <a:cubicBezTo>
                    <a:pt x="4130" y="13489"/>
                    <a:pt x="-1540" y="34505"/>
                    <a:pt x="398" y="40741"/>
                  </a:cubicBezTo>
                  <a:cubicBezTo>
                    <a:pt x="673" y="41613"/>
                    <a:pt x="947" y="41904"/>
                    <a:pt x="1060" y="41985"/>
                  </a:cubicBezTo>
                  <a:cubicBezTo>
                    <a:pt x="1109" y="42017"/>
                    <a:pt x="1254" y="42146"/>
                    <a:pt x="1674" y="42082"/>
                  </a:cubicBezTo>
                  <a:cubicBezTo>
                    <a:pt x="2450" y="41969"/>
                    <a:pt x="3354" y="41339"/>
                    <a:pt x="3855" y="40612"/>
                  </a:cubicBezTo>
                  <a:cubicBezTo>
                    <a:pt x="4566" y="39545"/>
                    <a:pt x="5018" y="38172"/>
                    <a:pt x="5503" y="36718"/>
                  </a:cubicBezTo>
                  <a:cubicBezTo>
                    <a:pt x="5842" y="35668"/>
                    <a:pt x="6198" y="34570"/>
                    <a:pt x="6698" y="33471"/>
                  </a:cubicBezTo>
                  <a:cubicBezTo>
                    <a:pt x="9735" y="26687"/>
                    <a:pt x="16197" y="23149"/>
                    <a:pt x="22433" y="19708"/>
                  </a:cubicBezTo>
                  <a:cubicBezTo>
                    <a:pt x="28232" y="16526"/>
                    <a:pt x="33724" y="13505"/>
                    <a:pt x="35727" y="8255"/>
                  </a:cubicBezTo>
                  <a:cubicBezTo>
                    <a:pt x="36277" y="6817"/>
                    <a:pt x="36568" y="4830"/>
                    <a:pt x="35695" y="3570"/>
                  </a:cubicBezTo>
                  <a:cubicBezTo>
                    <a:pt x="34952" y="2488"/>
                    <a:pt x="33288" y="1842"/>
                    <a:pt x="32093" y="1438"/>
                  </a:cubicBezTo>
                  <a:lnTo>
                    <a:pt x="32093" y="145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0" name="Free-form: Shape 269">
              <a:extLst>
                <a:ext uri="{FF2B5EF4-FFF2-40B4-BE49-F238E27FC236}">
                  <a16:creationId xmlns:a16="http://schemas.microsoft.com/office/drawing/2014/main" id="{7AFA2382-5EDF-C624-A38C-1998F41AD8E1}"/>
                </a:ext>
              </a:extLst>
            </p:cNvPr>
            <p:cNvSpPr/>
            <p:nvPr/>
          </p:nvSpPr>
          <p:spPr>
            <a:xfrm>
              <a:off x="6188801" y="4951030"/>
              <a:ext cx="32734" cy="32973"/>
            </a:xfrm>
            <a:custGeom>
              <a:avLst/>
              <a:gdLst>
                <a:gd name="connsiteX0" fmla="*/ 29179 w 32734"/>
                <a:gd name="connsiteY0" fmla="*/ 6478 h 32973"/>
                <a:gd name="connsiteX1" fmla="*/ 15351 w 32734"/>
                <a:gd name="connsiteY1" fmla="*/ 323 h 32973"/>
                <a:gd name="connsiteX2" fmla="*/ 11975 w 32734"/>
                <a:gd name="connsiteY2" fmla="*/ 0 h 32973"/>
                <a:gd name="connsiteX3" fmla="*/ 2896 w 32734"/>
                <a:gd name="connsiteY3" fmla="*/ 3392 h 32973"/>
                <a:gd name="connsiteX4" fmla="*/ 651 w 32734"/>
                <a:gd name="connsiteY4" fmla="*/ 16316 h 32973"/>
                <a:gd name="connsiteX5" fmla="*/ 8195 w 32734"/>
                <a:gd name="connsiteY5" fmla="*/ 29998 h 32973"/>
                <a:gd name="connsiteX6" fmla="*/ 11215 w 32734"/>
                <a:gd name="connsiteY6" fmla="*/ 32938 h 32973"/>
                <a:gd name="connsiteX7" fmla="*/ 16256 w 32734"/>
                <a:gd name="connsiteY7" fmla="*/ 28900 h 32973"/>
                <a:gd name="connsiteX8" fmla="*/ 18759 w 32734"/>
                <a:gd name="connsiteY8" fmla="*/ 25960 h 32973"/>
                <a:gd name="connsiteX9" fmla="*/ 25415 w 32734"/>
                <a:gd name="connsiteY9" fmla="*/ 21340 h 32973"/>
                <a:gd name="connsiteX10" fmla="*/ 29550 w 32734"/>
                <a:gd name="connsiteY10" fmla="*/ 18787 h 32973"/>
                <a:gd name="connsiteX11" fmla="*/ 32733 w 32734"/>
                <a:gd name="connsiteY11" fmla="*/ 12180 h 32973"/>
                <a:gd name="connsiteX12" fmla="*/ 29179 w 32734"/>
                <a:gd name="connsiteY12" fmla="*/ 6494 h 32973"/>
                <a:gd name="connsiteX13" fmla="*/ 29179 w 32734"/>
                <a:gd name="connsiteY13" fmla="*/ 6478 h 3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734" h="32973">
                  <a:moveTo>
                    <a:pt x="29179" y="6478"/>
                  </a:moveTo>
                  <a:cubicBezTo>
                    <a:pt x="24769" y="3909"/>
                    <a:pt x="20213" y="1276"/>
                    <a:pt x="15351" y="323"/>
                  </a:cubicBezTo>
                  <a:cubicBezTo>
                    <a:pt x="14301" y="113"/>
                    <a:pt x="13154" y="0"/>
                    <a:pt x="11975" y="0"/>
                  </a:cubicBezTo>
                  <a:cubicBezTo>
                    <a:pt x="8744" y="0"/>
                    <a:pt x="5255" y="889"/>
                    <a:pt x="2896" y="3392"/>
                  </a:cubicBezTo>
                  <a:cubicBezTo>
                    <a:pt x="-432" y="6914"/>
                    <a:pt x="-448" y="12374"/>
                    <a:pt x="651" y="16316"/>
                  </a:cubicBezTo>
                  <a:cubicBezTo>
                    <a:pt x="2024" y="21259"/>
                    <a:pt x="5174" y="25701"/>
                    <a:pt x="8195" y="29998"/>
                  </a:cubicBezTo>
                  <a:cubicBezTo>
                    <a:pt x="9164" y="31371"/>
                    <a:pt x="10182" y="32712"/>
                    <a:pt x="11215" y="32938"/>
                  </a:cubicBezTo>
                  <a:cubicBezTo>
                    <a:pt x="12685" y="33245"/>
                    <a:pt x="14156" y="31533"/>
                    <a:pt x="16256" y="28900"/>
                  </a:cubicBezTo>
                  <a:cubicBezTo>
                    <a:pt x="17047" y="27898"/>
                    <a:pt x="17871" y="26864"/>
                    <a:pt x="18759" y="25960"/>
                  </a:cubicBezTo>
                  <a:cubicBezTo>
                    <a:pt x="20763" y="23908"/>
                    <a:pt x="23121" y="22600"/>
                    <a:pt x="25415" y="21340"/>
                  </a:cubicBezTo>
                  <a:cubicBezTo>
                    <a:pt x="26917" y="20516"/>
                    <a:pt x="28323" y="19724"/>
                    <a:pt x="29550" y="18787"/>
                  </a:cubicBezTo>
                  <a:cubicBezTo>
                    <a:pt x="30907" y="17737"/>
                    <a:pt x="32797" y="14991"/>
                    <a:pt x="32733" y="12180"/>
                  </a:cubicBezTo>
                  <a:cubicBezTo>
                    <a:pt x="32684" y="10048"/>
                    <a:pt x="31489" y="8142"/>
                    <a:pt x="29179" y="6494"/>
                  </a:cubicBezTo>
                  <a:lnTo>
                    <a:pt x="29179" y="647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1" name="Free-form: Shape 270">
              <a:extLst>
                <a:ext uri="{FF2B5EF4-FFF2-40B4-BE49-F238E27FC236}">
                  <a16:creationId xmlns:a16="http://schemas.microsoft.com/office/drawing/2014/main" id="{111A0BD2-5835-1D15-27F3-D0ED9FF3E3C9}"/>
                </a:ext>
              </a:extLst>
            </p:cNvPr>
            <p:cNvSpPr/>
            <p:nvPr/>
          </p:nvSpPr>
          <p:spPr>
            <a:xfrm>
              <a:off x="5952350" y="5397919"/>
              <a:ext cx="34251" cy="35673"/>
            </a:xfrm>
            <a:custGeom>
              <a:avLst/>
              <a:gdLst>
                <a:gd name="connsiteX0" fmla="*/ 28567 w 34251"/>
                <a:gd name="connsiteY0" fmla="*/ 21388 h 35673"/>
                <a:gd name="connsiteX1" fmla="*/ 21798 w 34251"/>
                <a:gd name="connsiteY1" fmla="*/ 12245 h 35673"/>
                <a:gd name="connsiteX2" fmla="*/ 21636 w 34251"/>
                <a:gd name="connsiteY2" fmla="*/ 11114 h 35673"/>
                <a:gd name="connsiteX3" fmla="*/ 7292 w 34251"/>
                <a:gd name="connsiteY3" fmla="*/ 32 h 35673"/>
                <a:gd name="connsiteX4" fmla="*/ 6435 w 34251"/>
                <a:gd name="connsiteY4" fmla="*/ 0 h 35673"/>
                <a:gd name="connsiteX5" fmla="*/ 701 w 34251"/>
                <a:gd name="connsiteY5" fmla="*/ 2488 h 35673"/>
                <a:gd name="connsiteX6" fmla="*/ 248 w 34251"/>
                <a:gd name="connsiteY6" fmla="*/ 7592 h 35673"/>
                <a:gd name="connsiteX7" fmla="*/ 7001 w 34251"/>
                <a:gd name="connsiteY7" fmla="*/ 17107 h 35673"/>
                <a:gd name="connsiteX8" fmla="*/ 8309 w 34251"/>
                <a:gd name="connsiteY8" fmla="*/ 17867 h 35673"/>
                <a:gd name="connsiteX9" fmla="*/ 14609 w 34251"/>
                <a:gd name="connsiteY9" fmla="*/ 24150 h 35673"/>
                <a:gd name="connsiteX10" fmla="*/ 14819 w 34251"/>
                <a:gd name="connsiteY10" fmla="*/ 28787 h 35673"/>
                <a:gd name="connsiteX11" fmla="*/ 14787 w 34251"/>
                <a:gd name="connsiteY11" fmla="*/ 31097 h 35673"/>
                <a:gd name="connsiteX12" fmla="*/ 19940 w 34251"/>
                <a:gd name="connsiteY12" fmla="*/ 34279 h 35673"/>
                <a:gd name="connsiteX13" fmla="*/ 28550 w 34251"/>
                <a:gd name="connsiteY13" fmla="*/ 35604 h 35673"/>
                <a:gd name="connsiteX14" fmla="*/ 33962 w 34251"/>
                <a:gd name="connsiteY14" fmla="*/ 32147 h 35673"/>
                <a:gd name="connsiteX15" fmla="*/ 30586 w 34251"/>
                <a:gd name="connsiteY15" fmla="*/ 23424 h 35673"/>
                <a:gd name="connsiteX16" fmla="*/ 28567 w 34251"/>
                <a:gd name="connsiteY16" fmla="*/ 21388 h 3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251" h="35673">
                  <a:moveTo>
                    <a:pt x="28567" y="21388"/>
                  </a:moveTo>
                  <a:cubicBezTo>
                    <a:pt x="25901" y="18771"/>
                    <a:pt x="23155" y="16073"/>
                    <a:pt x="21798" y="12245"/>
                  </a:cubicBezTo>
                  <a:cubicBezTo>
                    <a:pt x="21669" y="11890"/>
                    <a:pt x="21620" y="11502"/>
                    <a:pt x="21636" y="11114"/>
                  </a:cubicBezTo>
                  <a:cubicBezTo>
                    <a:pt x="22008" y="4765"/>
                    <a:pt x="14529" y="679"/>
                    <a:pt x="7292" y="32"/>
                  </a:cubicBezTo>
                  <a:cubicBezTo>
                    <a:pt x="7017" y="0"/>
                    <a:pt x="6726" y="0"/>
                    <a:pt x="6435" y="0"/>
                  </a:cubicBezTo>
                  <a:cubicBezTo>
                    <a:pt x="4222" y="0"/>
                    <a:pt x="1767" y="727"/>
                    <a:pt x="701" y="2488"/>
                  </a:cubicBezTo>
                  <a:cubicBezTo>
                    <a:pt x="-301" y="4119"/>
                    <a:pt x="-10" y="6397"/>
                    <a:pt x="248" y="7592"/>
                  </a:cubicBezTo>
                  <a:cubicBezTo>
                    <a:pt x="1072" y="11486"/>
                    <a:pt x="3608" y="15040"/>
                    <a:pt x="7001" y="17107"/>
                  </a:cubicBezTo>
                  <a:cubicBezTo>
                    <a:pt x="7421" y="17366"/>
                    <a:pt x="7873" y="17608"/>
                    <a:pt x="8309" y="17867"/>
                  </a:cubicBezTo>
                  <a:cubicBezTo>
                    <a:pt x="10668" y="19175"/>
                    <a:pt x="13592" y="20823"/>
                    <a:pt x="14609" y="24150"/>
                  </a:cubicBezTo>
                  <a:cubicBezTo>
                    <a:pt x="15126" y="25831"/>
                    <a:pt x="14965" y="27397"/>
                    <a:pt x="14819" y="28787"/>
                  </a:cubicBezTo>
                  <a:cubicBezTo>
                    <a:pt x="14723" y="29675"/>
                    <a:pt x="14642" y="30516"/>
                    <a:pt x="14787" y="31097"/>
                  </a:cubicBezTo>
                  <a:cubicBezTo>
                    <a:pt x="15110" y="32325"/>
                    <a:pt x="16790" y="33359"/>
                    <a:pt x="19940" y="34279"/>
                  </a:cubicBezTo>
                  <a:cubicBezTo>
                    <a:pt x="22913" y="35152"/>
                    <a:pt x="25820" y="35911"/>
                    <a:pt x="28550" y="35604"/>
                  </a:cubicBezTo>
                  <a:cubicBezTo>
                    <a:pt x="30667" y="35378"/>
                    <a:pt x="33154" y="34215"/>
                    <a:pt x="33962" y="32147"/>
                  </a:cubicBezTo>
                  <a:cubicBezTo>
                    <a:pt x="35287" y="28755"/>
                    <a:pt x="31701" y="24603"/>
                    <a:pt x="30586" y="23424"/>
                  </a:cubicBezTo>
                  <a:cubicBezTo>
                    <a:pt x="29940" y="22729"/>
                    <a:pt x="29245" y="22067"/>
                    <a:pt x="28567" y="2138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2" name="Free-form: Shape 271">
              <a:extLst>
                <a:ext uri="{FF2B5EF4-FFF2-40B4-BE49-F238E27FC236}">
                  <a16:creationId xmlns:a16="http://schemas.microsoft.com/office/drawing/2014/main" id="{1F34BD7D-E496-88DE-3A0A-1B5FDD1CEF92}"/>
                </a:ext>
              </a:extLst>
            </p:cNvPr>
            <p:cNvSpPr/>
            <p:nvPr/>
          </p:nvSpPr>
          <p:spPr>
            <a:xfrm>
              <a:off x="6058712" y="5050016"/>
              <a:ext cx="59692" cy="58546"/>
            </a:xfrm>
            <a:custGeom>
              <a:avLst/>
              <a:gdLst>
                <a:gd name="connsiteX0" fmla="*/ 57399 w 59692"/>
                <a:gd name="connsiteY0" fmla="*/ 26484 h 58546"/>
                <a:gd name="connsiteX1" fmla="*/ 55719 w 59692"/>
                <a:gd name="connsiteY1" fmla="*/ 25757 h 58546"/>
                <a:gd name="connsiteX2" fmla="*/ 49823 w 59692"/>
                <a:gd name="connsiteY2" fmla="*/ 21960 h 58546"/>
                <a:gd name="connsiteX3" fmla="*/ 47868 w 59692"/>
                <a:gd name="connsiteY3" fmla="*/ 11880 h 58546"/>
                <a:gd name="connsiteX4" fmla="*/ 47981 w 59692"/>
                <a:gd name="connsiteY4" fmla="*/ 8342 h 58546"/>
                <a:gd name="connsiteX5" fmla="*/ 38289 w 59692"/>
                <a:gd name="connsiteY5" fmla="*/ 87 h 58546"/>
                <a:gd name="connsiteX6" fmla="*/ 31908 w 59692"/>
                <a:gd name="connsiteY6" fmla="*/ 4756 h 58546"/>
                <a:gd name="connsiteX7" fmla="*/ 29243 w 59692"/>
                <a:gd name="connsiteY7" fmla="*/ 12639 h 58546"/>
                <a:gd name="connsiteX8" fmla="*/ 27369 w 59692"/>
                <a:gd name="connsiteY8" fmla="*/ 15725 h 58546"/>
                <a:gd name="connsiteX9" fmla="*/ 17870 w 59692"/>
                <a:gd name="connsiteY9" fmla="*/ 13318 h 58546"/>
                <a:gd name="connsiteX10" fmla="*/ 10665 w 59692"/>
                <a:gd name="connsiteY10" fmla="*/ 10571 h 58546"/>
                <a:gd name="connsiteX11" fmla="*/ 9050 w 59692"/>
                <a:gd name="connsiteY11" fmla="*/ 10685 h 58546"/>
                <a:gd name="connsiteX12" fmla="*/ 1199 w 59692"/>
                <a:gd name="connsiteY12" fmla="*/ 15515 h 58546"/>
                <a:gd name="connsiteX13" fmla="*/ 908 w 59692"/>
                <a:gd name="connsiteY13" fmla="*/ 24723 h 58546"/>
                <a:gd name="connsiteX14" fmla="*/ 7580 w 59692"/>
                <a:gd name="connsiteY14" fmla="*/ 31071 h 58546"/>
                <a:gd name="connsiteX15" fmla="*/ 11360 w 59692"/>
                <a:gd name="connsiteY15" fmla="*/ 31734 h 58546"/>
                <a:gd name="connsiteX16" fmla="*/ 21747 w 59692"/>
                <a:gd name="connsiteY16" fmla="*/ 36305 h 58546"/>
                <a:gd name="connsiteX17" fmla="*/ 22555 w 59692"/>
                <a:gd name="connsiteY17" fmla="*/ 47484 h 58546"/>
                <a:gd name="connsiteX18" fmla="*/ 20810 w 59692"/>
                <a:gd name="connsiteY18" fmla="*/ 51313 h 58546"/>
                <a:gd name="connsiteX19" fmla="*/ 19049 w 59692"/>
                <a:gd name="connsiteY19" fmla="*/ 55384 h 58546"/>
                <a:gd name="connsiteX20" fmla="*/ 18985 w 59692"/>
                <a:gd name="connsiteY20" fmla="*/ 58130 h 58546"/>
                <a:gd name="connsiteX21" fmla="*/ 19760 w 59692"/>
                <a:gd name="connsiteY21" fmla="*/ 58517 h 58546"/>
                <a:gd name="connsiteX22" fmla="*/ 22329 w 59692"/>
                <a:gd name="connsiteY22" fmla="*/ 57807 h 58546"/>
                <a:gd name="connsiteX23" fmla="*/ 25592 w 59692"/>
                <a:gd name="connsiteY23" fmla="*/ 53429 h 58546"/>
                <a:gd name="connsiteX24" fmla="*/ 26529 w 59692"/>
                <a:gd name="connsiteY24" fmla="*/ 51846 h 58546"/>
                <a:gd name="connsiteX25" fmla="*/ 34945 w 59692"/>
                <a:gd name="connsiteY25" fmla="*/ 45416 h 58546"/>
                <a:gd name="connsiteX26" fmla="*/ 46027 w 59692"/>
                <a:gd name="connsiteY26" fmla="*/ 50893 h 58546"/>
                <a:gd name="connsiteX27" fmla="*/ 52343 w 59692"/>
                <a:gd name="connsiteY27" fmla="*/ 54786 h 58546"/>
                <a:gd name="connsiteX28" fmla="*/ 56107 w 59692"/>
                <a:gd name="connsiteY28" fmla="*/ 46563 h 58546"/>
                <a:gd name="connsiteX29" fmla="*/ 55945 w 59692"/>
                <a:gd name="connsiteY29" fmla="*/ 44124 h 58546"/>
                <a:gd name="connsiteX30" fmla="*/ 58175 w 59692"/>
                <a:gd name="connsiteY30" fmla="*/ 30926 h 58546"/>
                <a:gd name="connsiteX31" fmla="*/ 58902 w 59692"/>
                <a:gd name="connsiteY31" fmla="*/ 30005 h 58546"/>
                <a:gd name="connsiteX32" fmla="*/ 59677 w 59692"/>
                <a:gd name="connsiteY32" fmla="*/ 28890 h 58546"/>
                <a:gd name="connsiteX33" fmla="*/ 57416 w 59692"/>
                <a:gd name="connsiteY33" fmla="*/ 26484 h 58546"/>
                <a:gd name="connsiteX34" fmla="*/ 57399 w 59692"/>
                <a:gd name="connsiteY34" fmla="*/ 26484 h 5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692" h="58546">
                  <a:moveTo>
                    <a:pt x="57399" y="26484"/>
                  </a:moveTo>
                  <a:cubicBezTo>
                    <a:pt x="56850" y="26225"/>
                    <a:pt x="56285" y="25999"/>
                    <a:pt x="55719" y="25757"/>
                  </a:cubicBezTo>
                  <a:cubicBezTo>
                    <a:pt x="53732" y="24933"/>
                    <a:pt x="51471" y="24012"/>
                    <a:pt x="49823" y="21960"/>
                  </a:cubicBezTo>
                  <a:cubicBezTo>
                    <a:pt x="47335" y="18859"/>
                    <a:pt x="47610" y="15143"/>
                    <a:pt x="47868" y="11880"/>
                  </a:cubicBezTo>
                  <a:cubicBezTo>
                    <a:pt x="47965" y="10620"/>
                    <a:pt x="48062" y="9408"/>
                    <a:pt x="47981" y="8342"/>
                  </a:cubicBezTo>
                  <a:cubicBezTo>
                    <a:pt x="47836" y="6226"/>
                    <a:pt x="43071" y="847"/>
                    <a:pt x="38289" y="87"/>
                  </a:cubicBezTo>
                  <a:cubicBezTo>
                    <a:pt x="36464" y="-203"/>
                    <a:pt x="33814" y="-25"/>
                    <a:pt x="31908" y="4756"/>
                  </a:cubicBezTo>
                  <a:lnTo>
                    <a:pt x="29243" y="12639"/>
                  </a:lnTo>
                  <a:cubicBezTo>
                    <a:pt x="28984" y="13431"/>
                    <a:pt x="28532" y="14739"/>
                    <a:pt x="27369" y="15725"/>
                  </a:cubicBezTo>
                  <a:cubicBezTo>
                    <a:pt x="23540" y="18988"/>
                    <a:pt x="19259" y="14707"/>
                    <a:pt x="17870" y="13318"/>
                  </a:cubicBezTo>
                  <a:cubicBezTo>
                    <a:pt x="16109" y="11557"/>
                    <a:pt x="13492" y="10571"/>
                    <a:pt x="10665" y="10571"/>
                  </a:cubicBezTo>
                  <a:cubicBezTo>
                    <a:pt x="10132" y="10571"/>
                    <a:pt x="9583" y="10604"/>
                    <a:pt x="9050" y="10685"/>
                  </a:cubicBezTo>
                  <a:cubicBezTo>
                    <a:pt x="5625" y="11137"/>
                    <a:pt x="2701" y="12946"/>
                    <a:pt x="1199" y="15515"/>
                  </a:cubicBezTo>
                  <a:cubicBezTo>
                    <a:pt x="-287" y="18083"/>
                    <a:pt x="-400" y="21524"/>
                    <a:pt x="908" y="24723"/>
                  </a:cubicBezTo>
                  <a:cubicBezTo>
                    <a:pt x="2217" y="27905"/>
                    <a:pt x="4721" y="30280"/>
                    <a:pt x="7580" y="31071"/>
                  </a:cubicBezTo>
                  <a:cubicBezTo>
                    <a:pt x="8711" y="31378"/>
                    <a:pt x="10003" y="31556"/>
                    <a:pt x="11360" y="31734"/>
                  </a:cubicBezTo>
                  <a:cubicBezTo>
                    <a:pt x="14995" y="32218"/>
                    <a:pt x="19130" y="32768"/>
                    <a:pt x="21747" y="36305"/>
                  </a:cubicBezTo>
                  <a:cubicBezTo>
                    <a:pt x="23847" y="39149"/>
                    <a:pt x="24138" y="43236"/>
                    <a:pt x="22555" y="47484"/>
                  </a:cubicBezTo>
                  <a:cubicBezTo>
                    <a:pt x="22038" y="48841"/>
                    <a:pt x="21424" y="50101"/>
                    <a:pt x="20810" y="51313"/>
                  </a:cubicBezTo>
                  <a:cubicBezTo>
                    <a:pt x="20115" y="52718"/>
                    <a:pt x="19453" y="54043"/>
                    <a:pt x="19049" y="55384"/>
                  </a:cubicBezTo>
                  <a:cubicBezTo>
                    <a:pt x="18678" y="56595"/>
                    <a:pt x="18662" y="57645"/>
                    <a:pt x="18985" y="58130"/>
                  </a:cubicBezTo>
                  <a:cubicBezTo>
                    <a:pt x="19130" y="58323"/>
                    <a:pt x="19388" y="58469"/>
                    <a:pt x="19760" y="58517"/>
                  </a:cubicBezTo>
                  <a:cubicBezTo>
                    <a:pt x="20568" y="58646"/>
                    <a:pt x="21618" y="58340"/>
                    <a:pt x="22329" y="57807"/>
                  </a:cubicBezTo>
                  <a:cubicBezTo>
                    <a:pt x="23621" y="56805"/>
                    <a:pt x="24590" y="55157"/>
                    <a:pt x="25592" y="53429"/>
                  </a:cubicBezTo>
                  <a:cubicBezTo>
                    <a:pt x="25899" y="52896"/>
                    <a:pt x="26206" y="52363"/>
                    <a:pt x="26529" y="51846"/>
                  </a:cubicBezTo>
                  <a:cubicBezTo>
                    <a:pt x="28920" y="47985"/>
                    <a:pt x="31747" y="45820"/>
                    <a:pt x="34945" y="45416"/>
                  </a:cubicBezTo>
                  <a:cubicBezTo>
                    <a:pt x="39711" y="44803"/>
                    <a:pt x="43071" y="48050"/>
                    <a:pt x="46027" y="50893"/>
                  </a:cubicBezTo>
                  <a:cubicBezTo>
                    <a:pt x="48708" y="53477"/>
                    <a:pt x="50453" y="55028"/>
                    <a:pt x="52343" y="54786"/>
                  </a:cubicBezTo>
                  <a:cubicBezTo>
                    <a:pt x="55186" y="54414"/>
                    <a:pt x="56252" y="49762"/>
                    <a:pt x="56107" y="46563"/>
                  </a:cubicBezTo>
                  <a:cubicBezTo>
                    <a:pt x="56075" y="45755"/>
                    <a:pt x="56010" y="44948"/>
                    <a:pt x="55945" y="44124"/>
                  </a:cubicBezTo>
                  <a:cubicBezTo>
                    <a:pt x="55622" y="39827"/>
                    <a:pt x="55251" y="34948"/>
                    <a:pt x="58175" y="30926"/>
                  </a:cubicBezTo>
                  <a:cubicBezTo>
                    <a:pt x="58401" y="30619"/>
                    <a:pt x="58643" y="30312"/>
                    <a:pt x="58902" y="30005"/>
                  </a:cubicBezTo>
                  <a:cubicBezTo>
                    <a:pt x="59225" y="29601"/>
                    <a:pt x="59596" y="29149"/>
                    <a:pt x="59677" y="28890"/>
                  </a:cubicBezTo>
                  <a:cubicBezTo>
                    <a:pt x="59823" y="28438"/>
                    <a:pt x="58934" y="27227"/>
                    <a:pt x="57416" y="26484"/>
                  </a:cubicBezTo>
                  <a:lnTo>
                    <a:pt x="57399" y="2648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3" name="Free-form: Shape 272">
              <a:extLst>
                <a:ext uri="{FF2B5EF4-FFF2-40B4-BE49-F238E27FC236}">
                  <a16:creationId xmlns:a16="http://schemas.microsoft.com/office/drawing/2014/main" id="{044D0F71-F680-7919-6DE4-D45C51CDEBF2}"/>
                </a:ext>
              </a:extLst>
            </p:cNvPr>
            <p:cNvSpPr/>
            <p:nvPr/>
          </p:nvSpPr>
          <p:spPr>
            <a:xfrm>
              <a:off x="5306541" y="2248432"/>
              <a:ext cx="36098" cy="27418"/>
            </a:xfrm>
            <a:custGeom>
              <a:avLst/>
              <a:gdLst>
                <a:gd name="connsiteX0" fmla="*/ 3443 w 36098"/>
                <a:gd name="connsiteY0" fmla="*/ 15040 h 27418"/>
                <a:gd name="connsiteX1" fmla="*/ 12117 w 36098"/>
                <a:gd name="connsiteY1" fmla="*/ 17931 h 27418"/>
                <a:gd name="connsiteX2" fmla="*/ 13184 w 36098"/>
                <a:gd name="connsiteY2" fmla="*/ 18012 h 27418"/>
                <a:gd name="connsiteX3" fmla="*/ 21842 w 36098"/>
                <a:gd name="connsiteY3" fmla="*/ 21324 h 27418"/>
                <a:gd name="connsiteX4" fmla="*/ 23393 w 36098"/>
                <a:gd name="connsiteY4" fmla="*/ 24054 h 27418"/>
                <a:gd name="connsiteX5" fmla="*/ 23862 w 36098"/>
                <a:gd name="connsiteY5" fmla="*/ 25055 h 27418"/>
                <a:gd name="connsiteX6" fmla="*/ 27092 w 36098"/>
                <a:gd name="connsiteY6" fmla="*/ 27252 h 27418"/>
                <a:gd name="connsiteX7" fmla="*/ 32407 w 36098"/>
                <a:gd name="connsiteY7" fmla="*/ 26251 h 27418"/>
                <a:gd name="connsiteX8" fmla="*/ 35961 w 36098"/>
                <a:gd name="connsiteY8" fmla="*/ 15928 h 27418"/>
                <a:gd name="connsiteX9" fmla="*/ 30081 w 36098"/>
                <a:gd name="connsiteY9" fmla="*/ 1664 h 27418"/>
                <a:gd name="connsiteX10" fmla="*/ 20663 w 36098"/>
                <a:gd name="connsiteY10" fmla="*/ 0 h 27418"/>
                <a:gd name="connsiteX11" fmla="*/ 2990 w 36098"/>
                <a:gd name="connsiteY11" fmla="*/ 6236 h 27418"/>
                <a:gd name="connsiteX12" fmla="*/ 2 w 36098"/>
                <a:gd name="connsiteY12" fmla="*/ 10839 h 27418"/>
                <a:gd name="connsiteX13" fmla="*/ 3443 w 36098"/>
                <a:gd name="connsiteY13" fmla="*/ 15023 h 27418"/>
                <a:gd name="connsiteX14" fmla="*/ 3443 w 36098"/>
                <a:gd name="connsiteY14" fmla="*/ 15040 h 2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098" h="27418">
                  <a:moveTo>
                    <a:pt x="3443" y="15040"/>
                  </a:moveTo>
                  <a:cubicBezTo>
                    <a:pt x="6060" y="16639"/>
                    <a:pt x="9064" y="17640"/>
                    <a:pt x="12117" y="17931"/>
                  </a:cubicBezTo>
                  <a:lnTo>
                    <a:pt x="13184" y="18012"/>
                  </a:lnTo>
                  <a:cubicBezTo>
                    <a:pt x="16011" y="18222"/>
                    <a:pt x="19532" y="18497"/>
                    <a:pt x="21842" y="21324"/>
                  </a:cubicBezTo>
                  <a:cubicBezTo>
                    <a:pt x="22602" y="22244"/>
                    <a:pt x="23022" y="23197"/>
                    <a:pt x="23393" y="24054"/>
                  </a:cubicBezTo>
                  <a:cubicBezTo>
                    <a:pt x="23539" y="24393"/>
                    <a:pt x="23684" y="24732"/>
                    <a:pt x="23862" y="25055"/>
                  </a:cubicBezTo>
                  <a:cubicBezTo>
                    <a:pt x="24669" y="26525"/>
                    <a:pt x="26236" y="27058"/>
                    <a:pt x="27092" y="27252"/>
                  </a:cubicBezTo>
                  <a:cubicBezTo>
                    <a:pt x="28950" y="27672"/>
                    <a:pt x="30986" y="27284"/>
                    <a:pt x="32407" y="26251"/>
                  </a:cubicBezTo>
                  <a:cubicBezTo>
                    <a:pt x="35590" y="23941"/>
                    <a:pt x="36478" y="19401"/>
                    <a:pt x="35961" y="15928"/>
                  </a:cubicBezTo>
                  <a:cubicBezTo>
                    <a:pt x="35363" y="11954"/>
                    <a:pt x="32633" y="5412"/>
                    <a:pt x="30081" y="1664"/>
                  </a:cubicBezTo>
                  <a:cubicBezTo>
                    <a:pt x="27076" y="533"/>
                    <a:pt x="23878" y="0"/>
                    <a:pt x="20663" y="0"/>
                  </a:cubicBezTo>
                  <a:cubicBezTo>
                    <a:pt x="14282" y="0"/>
                    <a:pt x="7885" y="2165"/>
                    <a:pt x="2990" y="6236"/>
                  </a:cubicBezTo>
                  <a:cubicBezTo>
                    <a:pt x="1585" y="7399"/>
                    <a:pt x="-63" y="9159"/>
                    <a:pt x="2" y="10839"/>
                  </a:cubicBezTo>
                  <a:cubicBezTo>
                    <a:pt x="83" y="12762"/>
                    <a:pt x="2425" y="14410"/>
                    <a:pt x="3443" y="15023"/>
                  </a:cubicBezTo>
                  <a:lnTo>
                    <a:pt x="3443" y="1504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4" name="Free-form: Shape 273">
              <a:extLst>
                <a:ext uri="{FF2B5EF4-FFF2-40B4-BE49-F238E27FC236}">
                  <a16:creationId xmlns:a16="http://schemas.microsoft.com/office/drawing/2014/main" id="{9EB4AEF8-D292-85F9-99F2-1D91A954D439}"/>
                </a:ext>
              </a:extLst>
            </p:cNvPr>
            <p:cNvSpPr/>
            <p:nvPr/>
          </p:nvSpPr>
          <p:spPr>
            <a:xfrm>
              <a:off x="5109196" y="4639171"/>
              <a:ext cx="48834" cy="53334"/>
            </a:xfrm>
            <a:custGeom>
              <a:avLst/>
              <a:gdLst>
                <a:gd name="connsiteX0" fmla="*/ 363 w 48834"/>
                <a:gd name="connsiteY0" fmla="*/ 45056 h 53334"/>
                <a:gd name="connsiteX1" fmla="*/ 686 w 48834"/>
                <a:gd name="connsiteY1" fmla="*/ 49062 h 53334"/>
                <a:gd name="connsiteX2" fmla="*/ 6841 w 48834"/>
                <a:gd name="connsiteY2" fmla="*/ 53262 h 53334"/>
                <a:gd name="connsiteX3" fmla="*/ 21638 w 48834"/>
                <a:gd name="connsiteY3" fmla="*/ 48287 h 53334"/>
                <a:gd name="connsiteX4" fmla="*/ 38987 w 48834"/>
                <a:gd name="connsiteY4" fmla="*/ 32052 h 53334"/>
                <a:gd name="connsiteX5" fmla="*/ 39601 w 48834"/>
                <a:gd name="connsiteY5" fmla="*/ 29936 h 53334"/>
                <a:gd name="connsiteX6" fmla="*/ 41734 w 48834"/>
                <a:gd name="connsiteY6" fmla="*/ 24411 h 53334"/>
                <a:gd name="connsiteX7" fmla="*/ 45158 w 48834"/>
                <a:gd name="connsiteY7" fmla="*/ 20566 h 53334"/>
                <a:gd name="connsiteX8" fmla="*/ 47291 w 48834"/>
                <a:gd name="connsiteY8" fmla="*/ 18353 h 53334"/>
                <a:gd name="connsiteX9" fmla="*/ 48712 w 48834"/>
                <a:gd name="connsiteY9" fmla="*/ 11891 h 53334"/>
                <a:gd name="connsiteX10" fmla="*/ 43478 w 48834"/>
                <a:gd name="connsiteY10" fmla="*/ 3443 h 53334"/>
                <a:gd name="connsiteX11" fmla="*/ 24449 w 48834"/>
                <a:gd name="connsiteY11" fmla="*/ 438 h 53334"/>
                <a:gd name="connsiteX12" fmla="*/ 22510 w 48834"/>
                <a:gd name="connsiteY12" fmla="*/ 1504 h 53334"/>
                <a:gd name="connsiteX13" fmla="*/ 22365 w 48834"/>
                <a:gd name="connsiteY13" fmla="*/ 1633 h 53334"/>
                <a:gd name="connsiteX14" fmla="*/ 17955 w 48834"/>
                <a:gd name="connsiteY14" fmla="*/ 17513 h 53334"/>
                <a:gd name="connsiteX15" fmla="*/ 10734 w 48834"/>
                <a:gd name="connsiteY15" fmla="*/ 37754 h 53334"/>
                <a:gd name="connsiteX16" fmla="*/ 5758 w 48834"/>
                <a:gd name="connsiteY16" fmla="*/ 40856 h 53334"/>
                <a:gd name="connsiteX17" fmla="*/ 363 w 48834"/>
                <a:gd name="connsiteY17" fmla="*/ 45072 h 53334"/>
                <a:gd name="connsiteX18" fmla="*/ 363 w 48834"/>
                <a:gd name="connsiteY18" fmla="*/ 45056 h 5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8834" h="53334">
                  <a:moveTo>
                    <a:pt x="363" y="45056"/>
                  </a:moveTo>
                  <a:cubicBezTo>
                    <a:pt x="-364" y="46558"/>
                    <a:pt x="137" y="48060"/>
                    <a:pt x="686" y="49062"/>
                  </a:cubicBezTo>
                  <a:cubicBezTo>
                    <a:pt x="1897" y="51259"/>
                    <a:pt x="4434" y="52988"/>
                    <a:pt x="6841" y="53262"/>
                  </a:cubicBezTo>
                  <a:cubicBezTo>
                    <a:pt x="11606" y="53795"/>
                    <a:pt x="16372" y="51324"/>
                    <a:pt x="21638" y="48287"/>
                  </a:cubicBezTo>
                  <a:cubicBezTo>
                    <a:pt x="29408" y="43812"/>
                    <a:pt x="36564" y="39192"/>
                    <a:pt x="38987" y="32052"/>
                  </a:cubicBezTo>
                  <a:cubicBezTo>
                    <a:pt x="39230" y="31357"/>
                    <a:pt x="39408" y="30646"/>
                    <a:pt x="39601" y="29936"/>
                  </a:cubicBezTo>
                  <a:cubicBezTo>
                    <a:pt x="40070" y="28191"/>
                    <a:pt x="40603" y="26220"/>
                    <a:pt x="41734" y="24411"/>
                  </a:cubicBezTo>
                  <a:cubicBezTo>
                    <a:pt x="42719" y="22844"/>
                    <a:pt x="44011" y="21632"/>
                    <a:pt x="45158" y="20566"/>
                  </a:cubicBezTo>
                  <a:cubicBezTo>
                    <a:pt x="45966" y="19823"/>
                    <a:pt x="46709" y="19112"/>
                    <a:pt x="47291" y="18353"/>
                  </a:cubicBezTo>
                  <a:cubicBezTo>
                    <a:pt x="48955" y="16188"/>
                    <a:pt x="48971" y="13652"/>
                    <a:pt x="48712" y="11891"/>
                  </a:cubicBezTo>
                  <a:cubicBezTo>
                    <a:pt x="48195" y="8580"/>
                    <a:pt x="46192" y="5333"/>
                    <a:pt x="43478" y="3443"/>
                  </a:cubicBezTo>
                  <a:cubicBezTo>
                    <a:pt x="39036" y="341"/>
                    <a:pt x="32639" y="-677"/>
                    <a:pt x="24449" y="438"/>
                  </a:cubicBezTo>
                  <a:cubicBezTo>
                    <a:pt x="23641" y="551"/>
                    <a:pt x="23576" y="599"/>
                    <a:pt x="22510" y="1504"/>
                  </a:cubicBezTo>
                  <a:lnTo>
                    <a:pt x="22365" y="1633"/>
                  </a:lnTo>
                  <a:cubicBezTo>
                    <a:pt x="18843" y="5413"/>
                    <a:pt x="18407" y="11293"/>
                    <a:pt x="17955" y="17513"/>
                  </a:cubicBezTo>
                  <a:cubicBezTo>
                    <a:pt x="17405" y="24992"/>
                    <a:pt x="16840" y="32714"/>
                    <a:pt x="10734" y="37754"/>
                  </a:cubicBezTo>
                  <a:cubicBezTo>
                    <a:pt x="9167" y="39047"/>
                    <a:pt x="7438" y="39967"/>
                    <a:pt x="5758" y="40856"/>
                  </a:cubicBezTo>
                  <a:cubicBezTo>
                    <a:pt x="3335" y="42148"/>
                    <a:pt x="1235" y="43263"/>
                    <a:pt x="363" y="45072"/>
                  </a:cubicBezTo>
                  <a:lnTo>
                    <a:pt x="363" y="450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5" name="Free-form: Shape 274">
              <a:extLst>
                <a:ext uri="{FF2B5EF4-FFF2-40B4-BE49-F238E27FC236}">
                  <a16:creationId xmlns:a16="http://schemas.microsoft.com/office/drawing/2014/main" id="{07BFE317-DB4A-EC2E-F97B-61B1DCB153A4}"/>
                </a:ext>
              </a:extLst>
            </p:cNvPr>
            <p:cNvSpPr/>
            <p:nvPr/>
          </p:nvSpPr>
          <p:spPr>
            <a:xfrm>
              <a:off x="4890574" y="2864374"/>
              <a:ext cx="13855" cy="16889"/>
            </a:xfrm>
            <a:custGeom>
              <a:avLst/>
              <a:gdLst>
                <a:gd name="connsiteX0" fmla="*/ 8479 w 13855"/>
                <a:gd name="connsiteY0" fmla="*/ 15298 h 16889"/>
                <a:gd name="connsiteX1" fmla="*/ 13794 w 13855"/>
                <a:gd name="connsiteY1" fmla="*/ 6381 h 16889"/>
                <a:gd name="connsiteX2" fmla="*/ 8673 w 13855"/>
                <a:gd name="connsiteY2" fmla="*/ 162 h 16889"/>
                <a:gd name="connsiteX3" fmla="*/ 7946 w 13855"/>
                <a:gd name="connsiteY3" fmla="*/ 0 h 16889"/>
                <a:gd name="connsiteX4" fmla="*/ 7575 w 13855"/>
                <a:gd name="connsiteY4" fmla="*/ 113 h 16889"/>
                <a:gd name="connsiteX5" fmla="*/ 7478 w 13855"/>
                <a:gd name="connsiteY5" fmla="*/ 194 h 16889"/>
                <a:gd name="connsiteX6" fmla="*/ 15 w 13855"/>
                <a:gd name="connsiteY6" fmla="*/ 11017 h 16889"/>
                <a:gd name="connsiteX7" fmla="*/ 1194 w 13855"/>
                <a:gd name="connsiteY7" fmla="*/ 16041 h 16889"/>
                <a:gd name="connsiteX8" fmla="*/ 8479 w 13855"/>
                <a:gd name="connsiteY8" fmla="*/ 15314 h 16889"/>
                <a:gd name="connsiteX9" fmla="*/ 8479 w 13855"/>
                <a:gd name="connsiteY9" fmla="*/ 15298 h 1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55" h="16889">
                  <a:moveTo>
                    <a:pt x="8479" y="15298"/>
                  </a:moveTo>
                  <a:cubicBezTo>
                    <a:pt x="11500" y="13376"/>
                    <a:pt x="14311" y="9870"/>
                    <a:pt x="13794" y="6381"/>
                  </a:cubicBezTo>
                  <a:cubicBezTo>
                    <a:pt x="13471" y="4135"/>
                    <a:pt x="10886" y="1002"/>
                    <a:pt x="8673" y="162"/>
                  </a:cubicBezTo>
                  <a:cubicBezTo>
                    <a:pt x="8334" y="32"/>
                    <a:pt x="8108" y="0"/>
                    <a:pt x="7946" y="0"/>
                  </a:cubicBezTo>
                  <a:cubicBezTo>
                    <a:pt x="7704" y="0"/>
                    <a:pt x="7623" y="81"/>
                    <a:pt x="7575" y="113"/>
                  </a:cubicBezTo>
                  <a:cubicBezTo>
                    <a:pt x="7542" y="145"/>
                    <a:pt x="7510" y="162"/>
                    <a:pt x="7478" y="194"/>
                  </a:cubicBezTo>
                  <a:cubicBezTo>
                    <a:pt x="2567" y="4006"/>
                    <a:pt x="192" y="6591"/>
                    <a:pt x="15" y="11017"/>
                  </a:cubicBezTo>
                  <a:cubicBezTo>
                    <a:pt x="-82" y="13473"/>
                    <a:pt x="305" y="15153"/>
                    <a:pt x="1194" y="16041"/>
                  </a:cubicBezTo>
                  <a:cubicBezTo>
                    <a:pt x="2745" y="17592"/>
                    <a:pt x="6121" y="16817"/>
                    <a:pt x="8479" y="15314"/>
                  </a:cubicBezTo>
                  <a:lnTo>
                    <a:pt x="8479" y="152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6" name="Free-form: Shape 275">
              <a:extLst>
                <a:ext uri="{FF2B5EF4-FFF2-40B4-BE49-F238E27FC236}">
                  <a16:creationId xmlns:a16="http://schemas.microsoft.com/office/drawing/2014/main" id="{EAEB5F8C-A77E-7237-A654-22C587FEA38F}"/>
                </a:ext>
              </a:extLst>
            </p:cNvPr>
            <p:cNvSpPr/>
            <p:nvPr/>
          </p:nvSpPr>
          <p:spPr>
            <a:xfrm>
              <a:off x="4623914" y="5156705"/>
              <a:ext cx="17427" cy="22502"/>
            </a:xfrm>
            <a:custGeom>
              <a:avLst/>
              <a:gdLst>
                <a:gd name="connsiteX0" fmla="*/ 15234 w 17427"/>
                <a:gd name="connsiteY0" fmla="*/ 11615 h 22502"/>
                <a:gd name="connsiteX1" fmla="*/ 6463 w 17427"/>
                <a:gd name="connsiteY1" fmla="*/ 614 h 22502"/>
                <a:gd name="connsiteX2" fmla="*/ 4314 w 17427"/>
                <a:gd name="connsiteY2" fmla="*/ 0 h 22502"/>
                <a:gd name="connsiteX3" fmla="*/ 4007 w 17427"/>
                <a:gd name="connsiteY3" fmla="*/ 16 h 22502"/>
                <a:gd name="connsiteX4" fmla="*/ 954 w 17427"/>
                <a:gd name="connsiteY4" fmla="*/ 3328 h 22502"/>
                <a:gd name="connsiteX5" fmla="*/ 7884 w 17427"/>
                <a:gd name="connsiteY5" fmla="*/ 21453 h 22502"/>
                <a:gd name="connsiteX6" fmla="*/ 15832 w 17427"/>
                <a:gd name="connsiteY6" fmla="*/ 21340 h 22502"/>
                <a:gd name="connsiteX7" fmla="*/ 15687 w 17427"/>
                <a:gd name="connsiteY7" fmla="*/ 12342 h 22502"/>
                <a:gd name="connsiteX8" fmla="*/ 15250 w 17427"/>
                <a:gd name="connsiteY8" fmla="*/ 11599 h 22502"/>
                <a:gd name="connsiteX9" fmla="*/ 15234 w 17427"/>
                <a:gd name="connsiteY9" fmla="*/ 11615 h 22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427" h="22502">
                  <a:moveTo>
                    <a:pt x="15234" y="11615"/>
                  </a:moveTo>
                  <a:cubicBezTo>
                    <a:pt x="12617" y="5008"/>
                    <a:pt x="10727" y="2650"/>
                    <a:pt x="6463" y="614"/>
                  </a:cubicBezTo>
                  <a:cubicBezTo>
                    <a:pt x="5606" y="210"/>
                    <a:pt x="4896" y="0"/>
                    <a:pt x="4314" y="0"/>
                  </a:cubicBezTo>
                  <a:cubicBezTo>
                    <a:pt x="4201" y="0"/>
                    <a:pt x="4104" y="0"/>
                    <a:pt x="4007" y="16"/>
                  </a:cubicBezTo>
                  <a:cubicBezTo>
                    <a:pt x="2666" y="210"/>
                    <a:pt x="1552" y="1858"/>
                    <a:pt x="954" y="3328"/>
                  </a:cubicBezTo>
                  <a:cubicBezTo>
                    <a:pt x="-1744" y="9887"/>
                    <a:pt x="1503" y="18368"/>
                    <a:pt x="7884" y="21453"/>
                  </a:cubicBezTo>
                  <a:cubicBezTo>
                    <a:pt x="10356" y="22648"/>
                    <a:pt x="13764" y="23084"/>
                    <a:pt x="15832" y="21340"/>
                  </a:cubicBezTo>
                  <a:cubicBezTo>
                    <a:pt x="18223" y="19305"/>
                    <a:pt x="17722" y="14911"/>
                    <a:pt x="15687" y="12342"/>
                  </a:cubicBezTo>
                  <a:cubicBezTo>
                    <a:pt x="15509" y="12116"/>
                    <a:pt x="15363" y="11874"/>
                    <a:pt x="15250" y="11599"/>
                  </a:cubicBezTo>
                  <a:lnTo>
                    <a:pt x="15234" y="1161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7" name="Free-form: Shape 276">
              <a:extLst>
                <a:ext uri="{FF2B5EF4-FFF2-40B4-BE49-F238E27FC236}">
                  <a16:creationId xmlns:a16="http://schemas.microsoft.com/office/drawing/2014/main" id="{24D2D866-08E9-6EC4-1B20-1BC5593CBC5E}"/>
                </a:ext>
              </a:extLst>
            </p:cNvPr>
            <p:cNvSpPr/>
            <p:nvPr/>
          </p:nvSpPr>
          <p:spPr>
            <a:xfrm>
              <a:off x="5441063" y="2491262"/>
              <a:ext cx="37998" cy="25943"/>
            </a:xfrm>
            <a:custGeom>
              <a:avLst/>
              <a:gdLst>
                <a:gd name="connsiteX0" fmla="*/ 30188 w 37998"/>
                <a:gd name="connsiteY0" fmla="*/ 2342 h 25943"/>
                <a:gd name="connsiteX1" fmla="*/ 29542 w 37998"/>
                <a:gd name="connsiteY1" fmla="*/ 2229 h 25943"/>
                <a:gd name="connsiteX2" fmla="*/ 13323 w 37998"/>
                <a:gd name="connsiteY2" fmla="*/ 0 h 25943"/>
                <a:gd name="connsiteX3" fmla="*/ 3711 w 37998"/>
                <a:gd name="connsiteY3" fmla="*/ 775 h 25943"/>
                <a:gd name="connsiteX4" fmla="*/ 109 w 37998"/>
                <a:gd name="connsiteY4" fmla="*/ 2278 h 25943"/>
                <a:gd name="connsiteX5" fmla="*/ 1692 w 37998"/>
                <a:gd name="connsiteY5" fmla="*/ 5589 h 25943"/>
                <a:gd name="connsiteX6" fmla="*/ 4713 w 37998"/>
                <a:gd name="connsiteY6" fmla="*/ 7431 h 25943"/>
                <a:gd name="connsiteX7" fmla="*/ 8428 w 37998"/>
                <a:gd name="connsiteY7" fmla="*/ 9693 h 25943"/>
                <a:gd name="connsiteX8" fmla="*/ 14680 w 37998"/>
                <a:gd name="connsiteY8" fmla="*/ 17608 h 25943"/>
                <a:gd name="connsiteX9" fmla="*/ 18654 w 37998"/>
                <a:gd name="connsiteY9" fmla="*/ 23198 h 25943"/>
                <a:gd name="connsiteX10" fmla="*/ 28605 w 37998"/>
                <a:gd name="connsiteY10" fmla="*/ 25685 h 25943"/>
                <a:gd name="connsiteX11" fmla="*/ 36844 w 37998"/>
                <a:gd name="connsiteY11" fmla="*/ 19595 h 25943"/>
                <a:gd name="connsiteX12" fmla="*/ 35955 w 37998"/>
                <a:gd name="connsiteY12" fmla="*/ 6058 h 25943"/>
                <a:gd name="connsiteX13" fmla="*/ 30188 w 37998"/>
                <a:gd name="connsiteY13" fmla="*/ 2342 h 2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98" h="25943">
                  <a:moveTo>
                    <a:pt x="30188" y="2342"/>
                  </a:moveTo>
                  <a:cubicBezTo>
                    <a:pt x="29978" y="2342"/>
                    <a:pt x="29752" y="2294"/>
                    <a:pt x="29542" y="2229"/>
                  </a:cubicBezTo>
                  <a:cubicBezTo>
                    <a:pt x="24292" y="743"/>
                    <a:pt x="18800" y="0"/>
                    <a:pt x="13323" y="0"/>
                  </a:cubicBezTo>
                  <a:cubicBezTo>
                    <a:pt x="10092" y="0"/>
                    <a:pt x="6878" y="259"/>
                    <a:pt x="3711" y="775"/>
                  </a:cubicBezTo>
                  <a:cubicBezTo>
                    <a:pt x="1676" y="1115"/>
                    <a:pt x="464" y="1615"/>
                    <a:pt x="109" y="2278"/>
                  </a:cubicBezTo>
                  <a:cubicBezTo>
                    <a:pt x="-295" y="3037"/>
                    <a:pt x="464" y="4620"/>
                    <a:pt x="1692" y="5589"/>
                  </a:cubicBezTo>
                  <a:cubicBezTo>
                    <a:pt x="2548" y="6268"/>
                    <a:pt x="3598" y="6833"/>
                    <a:pt x="4713" y="7431"/>
                  </a:cubicBezTo>
                  <a:cubicBezTo>
                    <a:pt x="5941" y="8093"/>
                    <a:pt x="7217" y="8772"/>
                    <a:pt x="8428" y="9693"/>
                  </a:cubicBezTo>
                  <a:cubicBezTo>
                    <a:pt x="11272" y="11873"/>
                    <a:pt x="13000" y="14781"/>
                    <a:pt x="14680" y="17608"/>
                  </a:cubicBezTo>
                  <a:cubicBezTo>
                    <a:pt x="15924" y="19708"/>
                    <a:pt x="17103" y="21711"/>
                    <a:pt x="18654" y="23198"/>
                  </a:cubicBezTo>
                  <a:cubicBezTo>
                    <a:pt x="21045" y="25508"/>
                    <a:pt x="24777" y="26444"/>
                    <a:pt x="28605" y="25685"/>
                  </a:cubicBezTo>
                  <a:cubicBezTo>
                    <a:pt x="32434" y="24926"/>
                    <a:pt x="35519" y="22648"/>
                    <a:pt x="36844" y="19595"/>
                  </a:cubicBezTo>
                  <a:cubicBezTo>
                    <a:pt x="38669" y="15411"/>
                    <a:pt x="38298" y="9838"/>
                    <a:pt x="35955" y="6058"/>
                  </a:cubicBezTo>
                  <a:cubicBezTo>
                    <a:pt x="34954" y="4442"/>
                    <a:pt x="33144" y="2488"/>
                    <a:pt x="30188" y="23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8" name="Free-form: Shape 277">
              <a:extLst>
                <a:ext uri="{FF2B5EF4-FFF2-40B4-BE49-F238E27FC236}">
                  <a16:creationId xmlns:a16="http://schemas.microsoft.com/office/drawing/2014/main" id="{3D19E6AF-A682-F91B-66AA-C666EE85C896}"/>
                </a:ext>
              </a:extLst>
            </p:cNvPr>
            <p:cNvSpPr/>
            <p:nvPr/>
          </p:nvSpPr>
          <p:spPr>
            <a:xfrm>
              <a:off x="5229294" y="2694234"/>
              <a:ext cx="9420" cy="9584"/>
            </a:xfrm>
            <a:custGeom>
              <a:avLst/>
              <a:gdLst>
                <a:gd name="connsiteX0" fmla="*/ 5848 w 9420"/>
                <a:gd name="connsiteY0" fmla="*/ 164 h 9584"/>
                <a:gd name="connsiteX1" fmla="*/ 0 w 9420"/>
                <a:gd name="connsiteY1" fmla="*/ 1376 h 9584"/>
                <a:gd name="connsiteX2" fmla="*/ 3845 w 9420"/>
                <a:gd name="connsiteY2" fmla="*/ 9517 h 9584"/>
                <a:gd name="connsiteX3" fmla="*/ 9321 w 9420"/>
                <a:gd name="connsiteY3" fmla="*/ 5867 h 9584"/>
                <a:gd name="connsiteX4" fmla="*/ 5864 w 9420"/>
                <a:gd name="connsiteY4" fmla="*/ 180 h 9584"/>
                <a:gd name="connsiteX5" fmla="*/ 5848 w 9420"/>
                <a:gd name="connsiteY5" fmla="*/ 164 h 9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20" h="9584">
                  <a:moveTo>
                    <a:pt x="5848" y="164"/>
                  </a:moveTo>
                  <a:cubicBezTo>
                    <a:pt x="3764" y="-385"/>
                    <a:pt x="1486" y="552"/>
                    <a:pt x="0" y="1376"/>
                  </a:cubicBezTo>
                  <a:cubicBezTo>
                    <a:pt x="307" y="3815"/>
                    <a:pt x="2455" y="8839"/>
                    <a:pt x="3845" y="9517"/>
                  </a:cubicBezTo>
                  <a:cubicBezTo>
                    <a:pt x="6074" y="9954"/>
                    <a:pt x="8788" y="8193"/>
                    <a:pt x="9321" y="5867"/>
                  </a:cubicBezTo>
                  <a:cubicBezTo>
                    <a:pt x="9854" y="3540"/>
                    <a:pt x="8174" y="778"/>
                    <a:pt x="5864" y="180"/>
                  </a:cubicBezTo>
                  <a:lnTo>
                    <a:pt x="5848" y="16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9" name="Free-form: Shape 278">
              <a:extLst>
                <a:ext uri="{FF2B5EF4-FFF2-40B4-BE49-F238E27FC236}">
                  <a16:creationId xmlns:a16="http://schemas.microsoft.com/office/drawing/2014/main" id="{3F06FC6C-2194-C334-8B25-F3378C17C5A0}"/>
                </a:ext>
              </a:extLst>
            </p:cNvPr>
            <p:cNvSpPr/>
            <p:nvPr/>
          </p:nvSpPr>
          <p:spPr>
            <a:xfrm>
              <a:off x="5193639" y="4463092"/>
              <a:ext cx="32443" cy="38961"/>
            </a:xfrm>
            <a:custGeom>
              <a:avLst/>
              <a:gdLst>
                <a:gd name="connsiteX0" fmla="*/ 31713 w 32443"/>
                <a:gd name="connsiteY0" fmla="*/ 20693 h 38961"/>
                <a:gd name="connsiteX1" fmla="*/ 30663 w 32443"/>
                <a:gd name="connsiteY1" fmla="*/ 15476 h 38961"/>
                <a:gd name="connsiteX2" fmla="*/ 8177 w 32443"/>
                <a:gd name="connsiteY2" fmla="*/ 0 h 38961"/>
                <a:gd name="connsiteX3" fmla="*/ 6917 w 32443"/>
                <a:gd name="connsiteY3" fmla="*/ 32 h 38961"/>
                <a:gd name="connsiteX4" fmla="*/ 584 w 32443"/>
                <a:gd name="connsiteY4" fmla="*/ 2633 h 38961"/>
                <a:gd name="connsiteX5" fmla="*/ 4768 w 32443"/>
                <a:gd name="connsiteY5" fmla="*/ 12649 h 38961"/>
                <a:gd name="connsiteX6" fmla="*/ 7094 w 32443"/>
                <a:gd name="connsiteY6" fmla="*/ 14490 h 38961"/>
                <a:gd name="connsiteX7" fmla="*/ 16351 w 32443"/>
                <a:gd name="connsiteY7" fmla="*/ 25782 h 38961"/>
                <a:gd name="connsiteX8" fmla="*/ 16868 w 32443"/>
                <a:gd name="connsiteY8" fmla="*/ 30935 h 38961"/>
                <a:gd name="connsiteX9" fmla="*/ 17352 w 32443"/>
                <a:gd name="connsiteY9" fmla="*/ 35216 h 38961"/>
                <a:gd name="connsiteX10" fmla="*/ 20955 w 32443"/>
                <a:gd name="connsiteY10" fmla="*/ 38495 h 38961"/>
                <a:gd name="connsiteX11" fmla="*/ 27594 w 32443"/>
                <a:gd name="connsiteY11" fmla="*/ 37898 h 38961"/>
                <a:gd name="connsiteX12" fmla="*/ 32279 w 32443"/>
                <a:gd name="connsiteY12" fmla="*/ 25524 h 38961"/>
                <a:gd name="connsiteX13" fmla="*/ 31681 w 32443"/>
                <a:gd name="connsiteY13" fmla="*/ 20693 h 38961"/>
                <a:gd name="connsiteX14" fmla="*/ 31713 w 32443"/>
                <a:gd name="connsiteY14" fmla="*/ 20693 h 38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43" h="38961">
                  <a:moveTo>
                    <a:pt x="31713" y="20693"/>
                  </a:moveTo>
                  <a:cubicBezTo>
                    <a:pt x="31487" y="18513"/>
                    <a:pt x="31358" y="17269"/>
                    <a:pt x="30663" y="15476"/>
                  </a:cubicBezTo>
                  <a:cubicBezTo>
                    <a:pt x="23879" y="5072"/>
                    <a:pt x="16512" y="0"/>
                    <a:pt x="8177" y="0"/>
                  </a:cubicBezTo>
                  <a:cubicBezTo>
                    <a:pt x="7757" y="0"/>
                    <a:pt x="7337" y="0"/>
                    <a:pt x="6917" y="32"/>
                  </a:cubicBezTo>
                  <a:cubicBezTo>
                    <a:pt x="5107" y="145"/>
                    <a:pt x="1893" y="630"/>
                    <a:pt x="584" y="2633"/>
                  </a:cubicBezTo>
                  <a:cubicBezTo>
                    <a:pt x="-1209" y="5412"/>
                    <a:pt x="1392" y="9870"/>
                    <a:pt x="4768" y="12649"/>
                  </a:cubicBezTo>
                  <a:cubicBezTo>
                    <a:pt x="5527" y="13263"/>
                    <a:pt x="6303" y="13876"/>
                    <a:pt x="7094" y="14490"/>
                  </a:cubicBezTo>
                  <a:cubicBezTo>
                    <a:pt x="10810" y="17366"/>
                    <a:pt x="15010" y="20613"/>
                    <a:pt x="16351" y="25782"/>
                  </a:cubicBezTo>
                  <a:cubicBezTo>
                    <a:pt x="16803" y="27559"/>
                    <a:pt x="16852" y="29288"/>
                    <a:pt x="16868" y="30935"/>
                  </a:cubicBezTo>
                  <a:cubicBezTo>
                    <a:pt x="16900" y="32518"/>
                    <a:pt x="16932" y="34005"/>
                    <a:pt x="17352" y="35216"/>
                  </a:cubicBezTo>
                  <a:cubicBezTo>
                    <a:pt x="18063" y="37219"/>
                    <a:pt x="19921" y="38124"/>
                    <a:pt x="20955" y="38495"/>
                  </a:cubicBezTo>
                  <a:cubicBezTo>
                    <a:pt x="23216" y="39287"/>
                    <a:pt x="25769" y="39061"/>
                    <a:pt x="27594" y="37898"/>
                  </a:cubicBezTo>
                  <a:cubicBezTo>
                    <a:pt x="31116" y="35685"/>
                    <a:pt x="33038" y="30596"/>
                    <a:pt x="32279" y="25524"/>
                  </a:cubicBezTo>
                  <a:cubicBezTo>
                    <a:pt x="31972" y="23520"/>
                    <a:pt x="31810" y="21986"/>
                    <a:pt x="31681" y="20693"/>
                  </a:cubicBezTo>
                  <a:lnTo>
                    <a:pt x="31713" y="2069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0" name="Free-form: Shape 279">
              <a:extLst>
                <a:ext uri="{FF2B5EF4-FFF2-40B4-BE49-F238E27FC236}">
                  <a16:creationId xmlns:a16="http://schemas.microsoft.com/office/drawing/2014/main" id="{CB50B98A-A226-45A8-4D32-4188D22CA328}"/>
                </a:ext>
              </a:extLst>
            </p:cNvPr>
            <p:cNvSpPr/>
            <p:nvPr/>
          </p:nvSpPr>
          <p:spPr>
            <a:xfrm>
              <a:off x="4971707" y="4716818"/>
              <a:ext cx="54286" cy="48886"/>
            </a:xfrm>
            <a:custGeom>
              <a:avLst/>
              <a:gdLst>
                <a:gd name="connsiteX0" fmla="*/ 3966 w 54286"/>
                <a:gd name="connsiteY0" fmla="*/ 45417 h 48886"/>
                <a:gd name="connsiteX1" fmla="*/ 13368 w 54286"/>
                <a:gd name="connsiteY1" fmla="*/ 48567 h 48886"/>
                <a:gd name="connsiteX2" fmla="*/ 20653 w 54286"/>
                <a:gd name="connsiteY2" fmla="*/ 42299 h 48886"/>
                <a:gd name="connsiteX3" fmla="*/ 22559 w 54286"/>
                <a:gd name="connsiteY3" fmla="*/ 40070 h 48886"/>
                <a:gd name="connsiteX4" fmla="*/ 35709 w 54286"/>
                <a:gd name="connsiteY4" fmla="*/ 28972 h 48886"/>
                <a:gd name="connsiteX5" fmla="*/ 42752 w 54286"/>
                <a:gd name="connsiteY5" fmla="*/ 23625 h 48886"/>
                <a:gd name="connsiteX6" fmla="*/ 54286 w 54286"/>
                <a:gd name="connsiteY6" fmla="*/ 4418 h 48886"/>
                <a:gd name="connsiteX7" fmla="*/ 52736 w 54286"/>
                <a:gd name="connsiteY7" fmla="*/ 234 h 48886"/>
                <a:gd name="connsiteX8" fmla="*/ 50086 w 54286"/>
                <a:gd name="connsiteY8" fmla="*/ 56 h 48886"/>
                <a:gd name="connsiteX9" fmla="*/ 40975 w 54286"/>
                <a:gd name="connsiteY9" fmla="*/ 2867 h 48886"/>
                <a:gd name="connsiteX10" fmla="*/ 31590 w 54286"/>
                <a:gd name="connsiteY10" fmla="*/ 5952 h 48886"/>
                <a:gd name="connsiteX11" fmla="*/ 23044 w 54286"/>
                <a:gd name="connsiteY11" fmla="*/ 6631 h 48886"/>
                <a:gd name="connsiteX12" fmla="*/ 10201 w 54286"/>
                <a:gd name="connsiteY12" fmla="*/ 10572 h 48886"/>
                <a:gd name="connsiteX13" fmla="*/ 40 w 54286"/>
                <a:gd name="connsiteY13" fmla="*/ 34400 h 48886"/>
                <a:gd name="connsiteX14" fmla="*/ 3950 w 54286"/>
                <a:gd name="connsiteY14" fmla="*/ 45401 h 48886"/>
                <a:gd name="connsiteX15" fmla="*/ 3966 w 54286"/>
                <a:gd name="connsiteY15" fmla="*/ 45417 h 4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286" h="48886">
                  <a:moveTo>
                    <a:pt x="3966" y="45417"/>
                  </a:moveTo>
                  <a:cubicBezTo>
                    <a:pt x="6470" y="48244"/>
                    <a:pt x="10347" y="49536"/>
                    <a:pt x="13368" y="48567"/>
                  </a:cubicBezTo>
                  <a:cubicBezTo>
                    <a:pt x="16195" y="47662"/>
                    <a:pt x="18359" y="45062"/>
                    <a:pt x="20653" y="42299"/>
                  </a:cubicBezTo>
                  <a:cubicBezTo>
                    <a:pt x="21283" y="41540"/>
                    <a:pt x="21913" y="40797"/>
                    <a:pt x="22559" y="40070"/>
                  </a:cubicBezTo>
                  <a:cubicBezTo>
                    <a:pt x="26453" y="35692"/>
                    <a:pt x="31170" y="32268"/>
                    <a:pt x="35709" y="28972"/>
                  </a:cubicBezTo>
                  <a:cubicBezTo>
                    <a:pt x="38067" y="27260"/>
                    <a:pt x="40507" y="25483"/>
                    <a:pt x="42752" y="23625"/>
                  </a:cubicBezTo>
                  <a:cubicBezTo>
                    <a:pt x="47970" y="19312"/>
                    <a:pt x="54206" y="12479"/>
                    <a:pt x="54286" y="4418"/>
                  </a:cubicBezTo>
                  <a:cubicBezTo>
                    <a:pt x="54302" y="2705"/>
                    <a:pt x="53834" y="751"/>
                    <a:pt x="52736" y="234"/>
                  </a:cubicBezTo>
                  <a:cubicBezTo>
                    <a:pt x="52122" y="-57"/>
                    <a:pt x="51104" y="-25"/>
                    <a:pt x="50086" y="56"/>
                  </a:cubicBezTo>
                  <a:cubicBezTo>
                    <a:pt x="47033" y="315"/>
                    <a:pt x="44093" y="1558"/>
                    <a:pt x="40975" y="2867"/>
                  </a:cubicBezTo>
                  <a:cubicBezTo>
                    <a:pt x="38019" y="4111"/>
                    <a:pt x="34966" y="5387"/>
                    <a:pt x="31590" y="5952"/>
                  </a:cubicBezTo>
                  <a:cubicBezTo>
                    <a:pt x="28343" y="6485"/>
                    <a:pt x="25516" y="6566"/>
                    <a:pt x="23044" y="6631"/>
                  </a:cubicBezTo>
                  <a:cubicBezTo>
                    <a:pt x="17907" y="6776"/>
                    <a:pt x="14515" y="6857"/>
                    <a:pt x="10201" y="10572"/>
                  </a:cubicBezTo>
                  <a:cubicBezTo>
                    <a:pt x="3449" y="16388"/>
                    <a:pt x="-444" y="25515"/>
                    <a:pt x="40" y="34400"/>
                  </a:cubicBezTo>
                  <a:cubicBezTo>
                    <a:pt x="218" y="37598"/>
                    <a:pt x="1026" y="42089"/>
                    <a:pt x="3950" y="45401"/>
                  </a:cubicBezTo>
                  <a:lnTo>
                    <a:pt x="3966" y="4541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1" name="Free-form: Shape 280">
              <a:extLst>
                <a:ext uri="{FF2B5EF4-FFF2-40B4-BE49-F238E27FC236}">
                  <a16:creationId xmlns:a16="http://schemas.microsoft.com/office/drawing/2014/main" id="{FC191135-9A51-91DA-A941-7994C51ABAA4}"/>
                </a:ext>
              </a:extLst>
            </p:cNvPr>
            <p:cNvSpPr/>
            <p:nvPr/>
          </p:nvSpPr>
          <p:spPr>
            <a:xfrm>
              <a:off x="4663559" y="4717003"/>
              <a:ext cx="15320" cy="16119"/>
            </a:xfrm>
            <a:custGeom>
              <a:avLst/>
              <a:gdLst>
                <a:gd name="connsiteX0" fmla="*/ 13260 w 15320"/>
                <a:gd name="connsiteY0" fmla="*/ 2795 h 16119"/>
                <a:gd name="connsiteX1" fmla="*/ 11176 w 15320"/>
                <a:gd name="connsiteY1" fmla="*/ 1906 h 16119"/>
                <a:gd name="connsiteX2" fmla="*/ 5070 w 15320"/>
                <a:gd name="connsiteY2" fmla="*/ 0 h 16119"/>
                <a:gd name="connsiteX3" fmla="*/ 2970 w 15320"/>
                <a:gd name="connsiteY3" fmla="*/ 582 h 16119"/>
                <a:gd name="connsiteX4" fmla="*/ 2856 w 15320"/>
                <a:gd name="connsiteY4" fmla="*/ 646 h 16119"/>
                <a:gd name="connsiteX5" fmla="*/ 482 w 15320"/>
                <a:gd name="connsiteY5" fmla="*/ 3990 h 16119"/>
                <a:gd name="connsiteX6" fmla="*/ 2372 w 15320"/>
                <a:gd name="connsiteY6" fmla="*/ 15298 h 16119"/>
                <a:gd name="connsiteX7" fmla="*/ 9060 w 15320"/>
                <a:gd name="connsiteY7" fmla="*/ 15007 h 16119"/>
                <a:gd name="connsiteX8" fmla="*/ 14423 w 15320"/>
                <a:gd name="connsiteY8" fmla="*/ 8158 h 16119"/>
                <a:gd name="connsiteX9" fmla="*/ 15053 w 15320"/>
                <a:gd name="connsiteY9" fmla="*/ 3893 h 16119"/>
                <a:gd name="connsiteX10" fmla="*/ 13276 w 15320"/>
                <a:gd name="connsiteY10" fmla="*/ 2811 h 16119"/>
                <a:gd name="connsiteX11" fmla="*/ 13260 w 15320"/>
                <a:gd name="connsiteY11" fmla="*/ 2795 h 16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0" h="16119">
                  <a:moveTo>
                    <a:pt x="13260" y="2795"/>
                  </a:moveTo>
                  <a:cubicBezTo>
                    <a:pt x="12581" y="2520"/>
                    <a:pt x="11871" y="2213"/>
                    <a:pt x="11176" y="1906"/>
                  </a:cubicBezTo>
                  <a:cubicBezTo>
                    <a:pt x="8624" y="776"/>
                    <a:pt x="6669" y="0"/>
                    <a:pt x="5070" y="0"/>
                  </a:cubicBezTo>
                  <a:cubicBezTo>
                    <a:pt x="4310" y="0"/>
                    <a:pt x="3616" y="178"/>
                    <a:pt x="2970" y="582"/>
                  </a:cubicBezTo>
                  <a:cubicBezTo>
                    <a:pt x="2937" y="614"/>
                    <a:pt x="2889" y="630"/>
                    <a:pt x="2856" y="646"/>
                  </a:cubicBezTo>
                  <a:cubicBezTo>
                    <a:pt x="1483" y="1406"/>
                    <a:pt x="756" y="2439"/>
                    <a:pt x="482" y="3990"/>
                  </a:cubicBezTo>
                  <a:cubicBezTo>
                    <a:pt x="-552" y="9854"/>
                    <a:pt x="78" y="13650"/>
                    <a:pt x="2372" y="15298"/>
                  </a:cubicBezTo>
                  <a:cubicBezTo>
                    <a:pt x="4278" y="16655"/>
                    <a:pt x="7186" y="16170"/>
                    <a:pt x="9060" y="15007"/>
                  </a:cubicBezTo>
                  <a:cubicBezTo>
                    <a:pt x="11127" y="13715"/>
                    <a:pt x="12888" y="11470"/>
                    <a:pt x="14423" y="8158"/>
                  </a:cubicBezTo>
                  <a:cubicBezTo>
                    <a:pt x="15328" y="6187"/>
                    <a:pt x="15570" y="4588"/>
                    <a:pt x="15053" y="3893"/>
                  </a:cubicBezTo>
                  <a:cubicBezTo>
                    <a:pt x="14714" y="3425"/>
                    <a:pt x="13874" y="3053"/>
                    <a:pt x="13276" y="2811"/>
                  </a:cubicBezTo>
                  <a:lnTo>
                    <a:pt x="13260" y="279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2" name="Free-form: Shape 281">
              <a:extLst>
                <a:ext uri="{FF2B5EF4-FFF2-40B4-BE49-F238E27FC236}">
                  <a16:creationId xmlns:a16="http://schemas.microsoft.com/office/drawing/2014/main" id="{3171A659-2287-19AC-B860-2DDFC620656C}"/>
                </a:ext>
              </a:extLst>
            </p:cNvPr>
            <p:cNvSpPr/>
            <p:nvPr/>
          </p:nvSpPr>
          <p:spPr>
            <a:xfrm>
              <a:off x="5229213" y="2656869"/>
              <a:ext cx="13702" cy="15065"/>
            </a:xfrm>
            <a:custGeom>
              <a:avLst/>
              <a:gdLst>
                <a:gd name="connsiteX0" fmla="*/ 4733 w 13702"/>
                <a:gd name="connsiteY0" fmla="*/ 5 h 15065"/>
                <a:gd name="connsiteX1" fmla="*/ 0 w 13702"/>
                <a:gd name="connsiteY1" fmla="*/ 3559 h 15065"/>
                <a:gd name="connsiteX2" fmla="*/ 7076 w 13702"/>
                <a:gd name="connsiteY2" fmla="*/ 14786 h 15065"/>
                <a:gd name="connsiteX3" fmla="*/ 8707 w 13702"/>
                <a:gd name="connsiteY3" fmla="*/ 15059 h 15065"/>
                <a:gd name="connsiteX4" fmla="*/ 12713 w 13702"/>
                <a:gd name="connsiteY4" fmla="*/ 12088 h 15065"/>
                <a:gd name="connsiteX5" fmla="*/ 12859 w 13702"/>
                <a:gd name="connsiteY5" fmla="*/ 4690 h 15065"/>
                <a:gd name="connsiteX6" fmla="*/ 4733 w 13702"/>
                <a:gd name="connsiteY6" fmla="*/ 5 h 1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02" h="15065">
                  <a:moveTo>
                    <a:pt x="4733" y="5"/>
                  </a:moveTo>
                  <a:cubicBezTo>
                    <a:pt x="2698" y="118"/>
                    <a:pt x="1147" y="1281"/>
                    <a:pt x="0" y="3559"/>
                  </a:cubicBezTo>
                  <a:cubicBezTo>
                    <a:pt x="388" y="6967"/>
                    <a:pt x="4281" y="13251"/>
                    <a:pt x="7076" y="14786"/>
                  </a:cubicBezTo>
                  <a:cubicBezTo>
                    <a:pt x="7479" y="15012"/>
                    <a:pt x="8061" y="15091"/>
                    <a:pt x="8707" y="15059"/>
                  </a:cubicBezTo>
                  <a:cubicBezTo>
                    <a:pt x="10904" y="14898"/>
                    <a:pt x="12164" y="13122"/>
                    <a:pt x="12713" y="12088"/>
                  </a:cubicBezTo>
                  <a:cubicBezTo>
                    <a:pt x="13973" y="9714"/>
                    <a:pt x="14038" y="6741"/>
                    <a:pt x="12859" y="4690"/>
                  </a:cubicBezTo>
                  <a:cubicBezTo>
                    <a:pt x="11486" y="2299"/>
                    <a:pt x="7899" y="-124"/>
                    <a:pt x="4733" y="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3" name="Free-form: Shape 282">
              <a:extLst>
                <a:ext uri="{FF2B5EF4-FFF2-40B4-BE49-F238E27FC236}">
                  <a16:creationId xmlns:a16="http://schemas.microsoft.com/office/drawing/2014/main" id="{F8771D4E-2243-7079-8C53-6375FED14127}"/>
                </a:ext>
              </a:extLst>
            </p:cNvPr>
            <p:cNvSpPr/>
            <p:nvPr/>
          </p:nvSpPr>
          <p:spPr>
            <a:xfrm>
              <a:off x="4617873" y="4752026"/>
              <a:ext cx="46791" cy="69831"/>
            </a:xfrm>
            <a:custGeom>
              <a:avLst/>
              <a:gdLst>
                <a:gd name="connsiteX0" fmla="*/ 41549 w 46791"/>
                <a:gd name="connsiteY0" fmla="*/ 97 h 69831"/>
                <a:gd name="connsiteX1" fmla="*/ 40208 w 46791"/>
                <a:gd name="connsiteY1" fmla="*/ 0 h 69831"/>
                <a:gd name="connsiteX2" fmla="*/ 32325 w 46791"/>
                <a:gd name="connsiteY2" fmla="*/ 2100 h 69831"/>
                <a:gd name="connsiteX3" fmla="*/ 8432 w 46791"/>
                <a:gd name="connsiteY3" fmla="*/ 21308 h 69831"/>
                <a:gd name="connsiteX4" fmla="*/ 3651 w 46791"/>
                <a:gd name="connsiteY4" fmla="*/ 33197 h 69831"/>
                <a:gd name="connsiteX5" fmla="*/ 4523 w 46791"/>
                <a:gd name="connsiteY5" fmla="*/ 38366 h 69831"/>
                <a:gd name="connsiteX6" fmla="*/ 4039 w 46791"/>
                <a:gd name="connsiteY6" fmla="*/ 50789 h 69831"/>
                <a:gd name="connsiteX7" fmla="*/ 2132 w 46791"/>
                <a:gd name="connsiteY7" fmla="*/ 53293 h 69831"/>
                <a:gd name="connsiteX8" fmla="*/ 1034 w 46791"/>
                <a:gd name="connsiteY8" fmla="*/ 54650 h 69831"/>
                <a:gd name="connsiteX9" fmla="*/ 3392 w 46791"/>
                <a:gd name="connsiteY9" fmla="*/ 65457 h 69831"/>
                <a:gd name="connsiteX10" fmla="*/ 16784 w 46791"/>
                <a:gd name="connsiteY10" fmla="*/ 69786 h 69831"/>
                <a:gd name="connsiteX11" fmla="*/ 22422 w 46791"/>
                <a:gd name="connsiteY11" fmla="*/ 69156 h 69831"/>
                <a:gd name="connsiteX12" fmla="*/ 27931 w 46791"/>
                <a:gd name="connsiteY12" fmla="*/ 63599 h 69831"/>
                <a:gd name="connsiteX13" fmla="*/ 38269 w 46791"/>
                <a:gd name="connsiteY13" fmla="*/ 41274 h 69831"/>
                <a:gd name="connsiteX14" fmla="*/ 35345 w 46791"/>
                <a:gd name="connsiteY14" fmla="*/ 30338 h 69831"/>
                <a:gd name="connsiteX15" fmla="*/ 33778 w 46791"/>
                <a:gd name="connsiteY15" fmla="*/ 24328 h 69831"/>
                <a:gd name="connsiteX16" fmla="*/ 37413 w 46791"/>
                <a:gd name="connsiteY16" fmla="*/ 19337 h 69831"/>
                <a:gd name="connsiteX17" fmla="*/ 38350 w 46791"/>
                <a:gd name="connsiteY17" fmla="*/ 18610 h 69831"/>
                <a:gd name="connsiteX18" fmla="*/ 45700 w 46791"/>
                <a:gd name="connsiteY18" fmla="*/ 8756 h 69831"/>
                <a:gd name="connsiteX19" fmla="*/ 46766 w 46791"/>
                <a:gd name="connsiteY19" fmla="*/ 4475 h 69831"/>
                <a:gd name="connsiteX20" fmla="*/ 41532 w 46791"/>
                <a:gd name="connsiteY20" fmla="*/ 81 h 69831"/>
                <a:gd name="connsiteX21" fmla="*/ 41549 w 46791"/>
                <a:gd name="connsiteY21" fmla="*/ 97 h 6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791" h="69831">
                  <a:moveTo>
                    <a:pt x="41549" y="97"/>
                  </a:moveTo>
                  <a:cubicBezTo>
                    <a:pt x="41112" y="32"/>
                    <a:pt x="40660" y="0"/>
                    <a:pt x="40208" y="0"/>
                  </a:cubicBezTo>
                  <a:cubicBezTo>
                    <a:pt x="37429" y="0"/>
                    <a:pt x="34586" y="1082"/>
                    <a:pt x="32325" y="2100"/>
                  </a:cubicBezTo>
                  <a:cubicBezTo>
                    <a:pt x="22842" y="6316"/>
                    <a:pt x="14587" y="12956"/>
                    <a:pt x="8432" y="21308"/>
                  </a:cubicBezTo>
                  <a:cubicBezTo>
                    <a:pt x="5040" y="25911"/>
                    <a:pt x="3522" y="29691"/>
                    <a:pt x="3651" y="33197"/>
                  </a:cubicBezTo>
                  <a:cubicBezTo>
                    <a:pt x="3715" y="34796"/>
                    <a:pt x="4103" y="36525"/>
                    <a:pt x="4523" y="38366"/>
                  </a:cubicBezTo>
                  <a:cubicBezTo>
                    <a:pt x="5428" y="42276"/>
                    <a:pt x="6429" y="46702"/>
                    <a:pt x="4039" y="50789"/>
                  </a:cubicBezTo>
                  <a:cubicBezTo>
                    <a:pt x="3457" y="51774"/>
                    <a:pt x="2746" y="52582"/>
                    <a:pt x="2132" y="53293"/>
                  </a:cubicBezTo>
                  <a:cubicBezTo>
                    <a:pt x="1745" y="53729"/>
                    <a:pt x="1357" y="54165"/>
                    <a:pt x="1034" y="54650"/>
                  </a:cubicBezTo>
                  <a:cubicBezTo>
                    <a:pt x="-1195" y="57913"/>
                    <a:pt x="452" y="62872"/>
                    <a:pt x="3392" y="65457"/>
                  </a:cubicBezTo>
                  <a:cubicBezTo>
                    <a:pt x="6349" y="68058"/>
                    <a:pt x="10726" y="69479"/>
                    <a:pt x="16784" y="69786"/>
                  </a:cubicBezTo>
                  <a:cubicBezTo>
                    <a:pt x="18739" y="69883"/>
                    <a:pt x="20790" y="69883"/>
                    <a:pt x="22422" y="69156"/>
                  </a:cubicBezTo>
                  <a:cubicBezTo>
                    <a:pt x="24667" y="68171"/>
                    <a:pt x="26396" y="65748"/>
                    <a:pt x="27931" y="63599"/>
                  </a:cubicBezTo>
                  <a:cubicBezTo>
                    <a:pt x="32373" y="57347"/>
                    <a:pt x="37914" y="49577"/>
                    <a:pt x="38269" y="41274"/>
                  </a:cubicBezTo>
                  <a:cubicBezTo>
                    <a:pt x="38237" y="38011"/>
                    <a:pt x="36573" y="33585"/>
                    <a:pt x="35345" y="30338"/>
                  </a:cubicBezTo>
                  <a:cubicBezTo>
                    <a:pt x="34150" y="27155"/>
                    <a:pt x="33633" y="25685"/>
                    <a:pt x="33778" y="24328"/>
                  </a:cubicBezTo>
                  <a:cubicBezTo>
                    <a:pt x="34069" y="21760"/>
                    <a:pt x="36072" y="20306"/>
                    <a:pt x="37413" y="19337"/>
                  </a:cubicBezTo>
                  <a:cubicBezTo>
                    <a:pt x="37736" y="19094"/>
                    <a:pt x="38075" y="18868"/>
                    <a:pt x="38350" y="18610"/>
                  </a:cubicBezTo>
                  <a:cubicBezTo>
                    <a:pt x="41435" y="15896"/>
                    <a:pt x="43972" y="12487"/>
                    <a:pt x="45700" y="8756"/>
                  </a:cubicBezTo>
                  <a:cubicBezTo>
                    <a:pt x="46282" y="7512"/>
                    <a:pt x="46928" y="5896"/>
                    <a:pt x="46766" y="4475"/>
                  </a:cubicBezTo>
                  <a:cubicBezTo>
                    <a:pt x="46492" y="2148"/>
                    <a:pt x="43891" y="420"/>
                    <a:pt x="41532" y="81"/>
                  </a:cubicBezTo>
                  <a:lnTo>
                    <a:pt x="41549" y="9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4" name="Free-form: Shape 283">
              <a:extLst>
                <a:ext uri="{FF2B5EF4-FFF2-40B4-BE49-F238E27FC236}">
                  <a16:creationId xmlns:a16="http://schemas.microsoft.com/office/drawing/2014/main" id="{815B28DE-838E-93B7-7170-971CB4FB0A22}"/>
                </a:ext>
              </a:extLst>
            </p:cNvPr>
            <p:cNvSpPr/>
            <p:nvPr/>
          </p:nvSpPr>
          <p:spPr>
            <a:xfrm>
              <a:off x="5432228" y="2786915"/>
              <a:ext cx="26191" cy="22765"/>
            </a:xfrm>
            <a:custGeom>
              <a:avLst/>
              <a:gdLst>
                <a:gd name="connsiteX0" fmla="*/ 1562 w 26191"/>
                <a:gd name="connsiteY0" fmla="*/ 19240 h 22765"/>
                <a:gd name="connsiteX1" fmla="*/ 5584 w 26191"/>
                <a:gd name="connsiteY1" fmla="*/ 21130 h 22765"/>
                <a:gd name="connsiteX2" fmla="*/ 16827 w 26191"/>
                <a:gd name="connsiteY2" fmla="*/ 22680 h 22765"/>
                <a:gd name="connsiteX3" fmla="*/ 25115 w 26191"/>
                <a:gd name="connsiteY3" fmla="*/ 18125 h 22765"/>
                <a:gd name="connsiteX4" fmla="*/ 21318 w 26191"/>
                <a:gd name="connsiteY4" fmla="*/ 4378 h 22765"/>
                <a:gd name="connsiteX5" fmla="*/ 14291 w 26191"/>
                <a:gd name="connsiteY5" fmla="*/ 1696 h 22765"/>
                <a:gd name="connsiteX6" fmla="*/ 8847 w 26191"/>
                <a:gd name="connsiteY6" fmla="*/ 905 h 22765"/>
                <a:gd name="connsiteX7" fmla="*/ 7830 w 26191"/>
                <a:gd name="connsiteY7" fmla="*/ 468 h 22765"/>
                <a:gd name="connsiteX8" fmla="*/ 6230 w 26191"/>
                <a:gd name="connsiteY8" fmla="*/ 0 h 22765"/>
                <a:gd name="connsiteX9" fmla="*/ 5196 w 26191"/>
                <a:gd name="connsiteY9" fmla="*/ 129 h 22765"/>
                <a:gd name="connsiteX10" fmla="*/ 1206 w 26191"/>
                <a:gd name="connsiteY10" fmla="*/ 3328 h 22765"/>
                <a:gd name="connsiteX11" fmla="*/ 318 w 26191"/>
                <a:gd name="connsiteY11" fmla="*/ 14555 h 22765"/>
                <a:gd name="connsiteX12" fmla="*/ 1578 w 26191"/>
                <a:gd name="connsiteY12" fmla="*/ 19256 h 22765"/>
                <a:gd name="connsiteX13" fmla="*/ 1562 w 26191"/>
                <a:gd name="connsiteY13" fmla="*/ 19240 h 22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191" h="22765">
                  <a:moveTo>
                    <a:pt x="1562" y="19240"/>
                  </a:moveTo>
                  <a:cubicBezTo>
                    <a:pt x="2369" y="20177"/>
                    <a:pt x="4001" y="20694"/>
                    <a:pt x="5584" y="21130"/>
                  </a:cubicBezTo>
                  <a:cubicBezTo>
                    <a:pt x="9816" y="22309"/>
                    <a:pt x="13354" y="23020"/>
                    <a:pt x="16827" y="22680"/>
                  </a:cubicBezTo>
                  <a:cubicBezTo>
                    <a:pt x="20511" y="22309"/>
                    <a:pt x="23596" y="20613"/>
                    <a:pt x="25115" y="18125"/>
                  </a:cubicBezTo>
                  <a:cubicBezTo>
                    <a:pt x="27748" y="13779"/>
                    <a:pt x="25195" y="7592"/>
                    <a:pt x="21318" y="4378"/>
                  </a:cubicBezTo>
                  <a:cubicBezTo>
                    <a:pt x="18572" y="2100"/>
                    <a:pt x="17134" y="1955"/>
                    <a:pt x="14291" y="1696"/>
                  </a:cubicBezTo>
                  <a:cubicBezTo>
                    <a:pt x="12853" y="1567"/>
                    <a:pt x="11076" y="1389"/>
                    <a:pt x="8847" y="905"/>
                  </a:cubicBezTo>
                  <a:cubicBezTo>
                    <a:pt x="8492" y="824"/>
                    <a:pt x="8136" y="678"/>
                    <a:pt x="7830" y="468"/>
                  </a:cubicBezTo>
                  <a:cubicBezTo>
                    <a:pt x="7313" y="113"/>
                    <a:pt x="6747" y="0"/>
                    <a:pt x="6230" y="0"/>
                  </a:cubicBezTo>
                  <a:cubicBezTo>
                    <a:pt x="5859" y="0"/>
                    <a:pt x="5503" y="65"/>
                    <a:pt x="5196" y="129"/>
                  </a:cubicBezTo>
                  <a:cubicBezTo>
                    <a:pt x="3581" y="549"/>
                    <a:pt x="1966" y="1825"/>
                    <a:pt x="1206" y="3328"/>
                  </a:cubicBezTo>
                  <a:cubicBezTo>
                    <a:pt x="-328" y="6332"/>
                    <a:pt x="-118" y="10032"/>
                    <a:pt x="318" y="14555"/>
                  </a:cubicBezTo>
                  <a:cubicBezTo>
                    <a:pt x="512" y="16542"/>
                    <a:pt x="738" y="18270"/>
                    <a:pt x="1578" y="19256"/>
                  </a:cubicBezTo>
                  <a:lnTo>
                    <a:pt x="1562" y="1924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5" name="Free-form: Shape 284">
              <a:extLst>
                <a:ext uri="{FF2B5EF4-FFF2-40B4-BE49-F238E27FC236}">
                  <a16:creationId xmlns:a16="http://schemas.microsoft.com/office/drawing/2014/main" id="{240E8A05-057E-F2A6-AADD-97CA94236506}"/>
                </a:ext>
              </a:extLst>
            </p:cNvPr>
            <p:cNvSpPr/>
            <p:nvPr/>
          </p:nvSpPr>
          <p:spPr>
            <a:xfrm>
              <a:off x="5360009" y="2133930"/>
              <a:ext cx="68203" cy="132674"/>
            </a:xfrm>
            <a:custGeom>
              <a:avLst/>
              <a:gdLst>
                <a:gd name="connsiteX0" fmla="*/ 9115 w 68203"/>
                <a:gd name="connsiteY0" fmla="*/ 55167 h 132674"/>
                <a:gd name="connsiteX1" fmla="*/ 13525 w 68203"/>
                <a:gd name="connsiteY1" fmla="*/ 55716 h 132674"/>
                <a:gd name="connsiteX2" fmla="*/ 24284 w 68203"/>
                <a:gd name="connsiteY2" fmla="*/ 59609 h 132674"/>
                <a:gd name="connsiteX3" fmla="*/ 23944 w 68203"/>
                <a:gd name="connsiteY3" fmla="*/ 75553 h 132674"/>
                <a:gd name="connsiteX4" fmla="*/ 22200 w 68203"/>
                <a:gd name="connsiteY4" fmla="*/ 80206 h 132674"/>
                <a:gd name="connsiteX5" fmla="*/ 30471 w 68203"/>
                <a:gd name="connsiteY5" fmla="*/ 103855 h 132674"/>
                <a:gd name="connsiteX6" fmla="*/ 66689 w 68203"/>
                <a:gd name="connsiteY6" fmla="*/ 132675 h 132674"/>
                <a:gd name="connsiteX7" fmla="*/ 56059 w 68203"/>
                <a:gd name="connsiteY7" fmla="*/ 90884 h 132674"/>
                <a:gd name="connsiteX8" fmla="*/ 42005 w 68203"/>
                <a:gd name="connsiteY8" fmla="*/ 52275 h 132674"/>
                <a:gd name="connsiteX9" fmla="*/ 41456 w 68203"/>
                <a:gd name="connsiteY9" fmla="*/ 40854 h 132674"/>
                <a:gd name="connsiteX10" fmla="*/ 38338 w 68203"/>
                <a:gd name="connsiteY10" fmla="*/ 13085 h 132674"/>
                <a:gd name="connsiteX11" fmla="*/ 31101 w 68203"/>
                <a:gd name="connsiteY11" fmla="*/ 1357 h 132674"/>
                <a:gd name="connsiteX12" fmla="*/ 25867 w 68203"/>
                <a:gd name="connsiteY12" fmla="*/ 0 h 132674"/>
                <a:gd name="connsiteX13" fmla="*/ 14462 w 68203"/>
                <a:gd name="connsiteY13" fmla="*/ 4911 h 132674"/>
                <a:gd name="connsiteX14" fmla="*/ 4463 w 68203"/>
                <a:gd name="connsiteY14" fmla="*/ 22955 h 132674"/>
                <a:gd name="connsiteX15" fmla="*/ 36 w 68203"/>
                <a:gd name="connsiteY15" fmla="*/ 41920 h 132674"/>
                <a:gd name="connsiteX16" fmla="*/ 9131 w 68203"/>
                <a:gd name="connsiteY16" fmla="*/ 55150 h 132674"/>
                <a:gd name="connsiteX17" fmla="*/ 9115 w 68203"/>
                <a:gd name="connsiteY17" fmla="*/ 55167 h 13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203" h="132674">
                  <a:moveTo>
                    <a:pt x="9115" y="55167"/>
                  </a:moveTo>
                  <a:cubicBezTo>
                    <a:pt x="10423" y="55490"/>
                    <a:pt x="11926" y="55603"/>
                    <a:pt x="13525" y="55716"/>
                  </a:cubicBezTo>
                  <a:cubicBezTo>
                    <a:pt x="17208" y="55974"/>
                    <a:pt x="21376" y="56265"/>
                    <a:pt x="24284" y="59609"/>
                  </a:cubicBezTo>
                  <a:cubicBezTo>
                    <a:pt x="28532" y="64504"/>
                    <a:pt x="25996" y="70626"/>
                    <a:pt x="23944" y="75553"/>
                  </a:cubicBezTo>
                  <a:cubicBezTo>
                    <a:pt x="23266" y="77201"/>
                    <a:pt x="22620" y="78752"/>
                    <a:pt x="22200" y="80206"/>
                  </a:cubicBezTo>
                  <a:cubicBezTo>
                    <a:pt x="19922" y="88186"/>
                    <a:pt x="25091" y="96634"/>
                    <a:pt x="30471" y="103855"/>
                  </a:cubicBezTo>
                  <a:cubicBezTo>
                    <a:pt x="39243" y="115648"/>
                    <a:pt x="51180" y="129363"/>
                    <a:pt x="66689" y="132675"/>
                  </a:cubicBezTo>
                  <a:cubicBezTo>
                    <a:pt x="70485" y="116375"/>
                    <a:pt x="67222" y="103742"/>
                    <a:pt x="56059" y="90884"/>
                  </a:cubicBezTo>
                  <a:cubicBezTo>
                    <a:pt x="47869" y="82403"/>
                    <a:pt x="43265" y="69786"/>
                    <a:pt x="42005" y="52275"/>
                  </a:cubicBezTo>
                  <a:cubicBezTo>
                    <a:pt x="41730" y="48463"/>
                    <a:pt x="41585" y="44602"/>
                    <a:pt x="41456" y="40854"/>
                  </a:cubicBezTo>
                  <a:cubicBezTo>
                    <a:pt x="41100" y="31161"/>
                    <a:pt x="40777" y="22002"/>
                    <a:pt x="38338" y="13085"/>
                  </a:cubicBezTo>
                  <a:cubicBezTo>
                    <a:pt x="36706" y="7092"/>
                    <a:pt x="34332" y="3263"/>
                    <a:pt x="31101" y="1357"/>
                  </a:cubicBezTo>
                  <a:cubicBezTo>
                    <a:pt x="29485" y="420"/>
                    <a:pt x="27692" y="0"/>
                    <a:pt x="25867" y="0"/>
                  </a:cubicBezTo>
                  <a:cubicBezTo>
                    <a:pt x="21699" y="0"/>
                    <a:pt x="17337" y="2116"/>
                    <a:pt x="14462" y="4911"/>
                  </a:cubicBezTo>
                  <a:cubicBezTo>
                    <a:pt x="9551" y="9693"/>
                    <a:pt x="6853" y="16736"/>
                    <a:pt x="4463" y="22955"/>
                  </a:cubicBezTo>
                  <a:cubicBezTo>
                    <a:pt x="2217" y="28835"/>
                    <a:pt x="-335" y="35491"/>
                    <a:pt x="36" y="41920"/>
                  </a:cubicBezTo>
                  <a:cubicBezTo>
                    <a:pt x="343" y="47429"/>
                    <a:pt x="3574" y="53745"/>
                    <a:pt x="9131" y="55150"/>
                  </a:cubicBezTo>
                  <a:lnTo>
                    <a:pt x="9115" y="5516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6" name="Free-form: Shape 285">
              <a:extLst>
                <a:ext uri="{FF2B5EF4-FFF2-40B4-BE49-F238E27FC236}">
                  <a16:creationId xmlns:a16="http://schemas.microsoft.com/office/drawing/2014/main" id="{09979D15-C189-6143-F37C-81E5F0CAE54F}"/>
                </a:ext>
              </a:extLst>
            </p:cNvPr>
            <p:cNvSpPr/>
            <p:nvPr/>
          </p:nvSpPr>
          <p:spPr>
            <a:xfrm>
              <a:off x="5435632" y="2442620"/>
              <a:ext cx="38884" cy="22436"/>
            </a:xfrm>
            <a:custGeom>
              <a:avLst/>
              <a:gdLst>
                <a:gd name="connsiteX0" fmla="*/ 8480 w 38884"/>
                <a:gd name="connsiteY0" fmla="*/ 1066 h 22436"/>
                <a:gd name="connsiteX1" fmla="*/ 3343 w 38884"/>
                <a:gd name="connsiteY1" fmla="*/ 0 h 22436"/>
                <a:gd name="connsiteX2" fmla="*/ 791 w 38884"/>
                <a:gd name="connsiteY2" fmla="*/ 838 h 22436"/>
                <a:gd name="connsiteX3" fmla="*/ 1825 w 38884"/>
                <a:gd name="connsiteY3" fmla="*/ 9305 h 22436"/>
                <a:gd name="connsiteX4" fmla="*/ 9175 w 38884"/>
                <a:gd name="connsiteY4" fmla="*/ 19950 h 22436"/>
                <a:gd name="connsiteX5" fmla="*/ 28996 w 38884"/>
                <a:gd name="connsiteY5" fmla="*/ 21081 h 22436"/>
                <a:gd name="connsiteX6" fmla="*/ 37752 w 38884"/>
                <a:gd name="connsiteY6" fmla="*/ 17447 h 22436"/>
                <a:gd name="connsiteX7" fmla="*/ 38818 w 38884"/>
                <a:gd name="connsiteY7" fmla="*/ 13649 h 22436"/>
                <a:gd name="connsiteX8" fmla="*/ 37865 w 38884"/>
                <a:gd name="connsiteY8" fmla="*/ 12146 h 22436"/>
                <a:gd name="connsiteX9" fmla="*/ 35652 w 38884"/>
                <a:gd name="connsiteY9" fmla="*/ 11405 h 22436"/>
                <a:gd name="connsiteX10" fmla="*/ 29481 w 38884"/>
                <a:gd name="connsiteY10" fmla="*/ 7625 h 22436"/>
                <a:gd name="connsiteX11" fmla="*/ 16267 w 38884"/>
                <a:gd name="connsiteY11" fmla="*/ 2955 h 22436"/>
                <a:gd name="connsiteX12" fmla="*/ 8480 w 38884"/>
                <a:gd name="connsiteY12" fmla="*/ 1066 h 2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884" h="22436">
                  <a:moveTo>
                    <a:pt x="8480" y="1066"/>
                  </a:moveTo>
                  <a:cubicBezTo>
                    <a:pt x="6332" y="355"/>
                    <a:pt x="4636" y="0"/>
                    <a:pt x="3343" y="0"/>
                  </a:cubicBezTo>
                  <a:cubicBezTo>
                    <a:pt x="2196" y="0"/>
                    <a:pt x="1356" y="273"/>
                    <a:pt x="791" y="838"/>
                  </a:cubicBezTo>
                  <a:cubicBezTo>
                    <a:pt x="-889" y="2502"/>
                    <a:pt x="419" y="6365"/>
                    <a:pt x="1825" y="9305"/>
                  </a:cubicBezTo>
                  <a:cubicBezTo>
                    <a:pt x="3650" y="13149"/>
                    <a:pt x="5734" y="17511"/>
                    <a:pt x="9175" y="19950"/>
                  </a:cubicBezTo>
                  <a:cubicBezTo>
                    <a:pt x="14457" y="23666"/>
                    <a:pt x="22179" y="22487"/>
                    <a:pt x="28996" y="21081"/>
                  </a:cubicBezTo>
                  <a:cubicBezTo>
                    <a:pt x="32647" y="20322"/>
                    <a:pt x="35829" y="19530"/>
                    <a:pt x="37752" y="17447"/>
                  </a:cubicBezTo>
                  <a:cubicBezTo>
                    <a:pt x="38624" y="16510"/>
                    <a:pt x="39060" y="14941"/>
                    <a:pt x="38818" y="13649"/>
                  </a:cubicBezTo>
                  <a:cubicBezTo>
                    <a:pt x="38689" y="12906"/>
                    <a:pt x="38366" y="12405"/>
                    <a:pt x="37865" y="12146"/>
                  </a:cubicBezTo>
                  <a:cubicBezTo>
                    <a:pt x="37332" y="11872"/>
                    <a:pt x="36508" y="11647"/>
                    <a:pt x="35652" y="11405"/>
                  </a:cubicBezTo>
                  <a:cubicBezTo>
                    <a:pt x="33568" y="10823"/>
                    <a:pt x="30806" y="10048"/>
                    <a:pt x="29481" y="7625"/>
                  </a:cubicBezTo>
                  <a:cubicBezTo>
                    <a:pt x="25152" y="4717"/>
                    <a:pt x="20838" y="3859"/>
                    <a:pt x="16267" y="2955"/>
                  </a:cubicBezTo>
                  <a:cubicBezTo>
                    <a:pt x="13747" y="2454"/>
                    <a:pt x="11130" y="1938"/>
                    <a:pt x="8480" y="106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7" name="Free-form: Shape 286">
              <a:extLst>
                <a:ext uri="{FF2B5EF4-FFF2-40B4-BE49-F238E27FC236}">
                  <a16:creationId xmlns:a16="http://schemas.microsoft.com/office/drawing/2014/main" id="{1AADB9BC-8098-E540-06AA-71BFC9197301}"/>
                </a:ext>
              </a:extLst>
            </p:cNvPr>
            <p:cNvSpPr/>
            <p:nvPr/>
          </p:nvSpPr>
          <p:spPr>
            <a:xfrm>
              <a:off x="5025533" y="3116834"/>
              <a:ext cx="10994" cy="10956"/>
            </a:xfrm>
            <a:custGeom>
              <a:avLst/>
              <a:gdLst>
                <a:gd name="connsiteX0" fmla="*/ 3675 w 10994"/>
                <a:gd name="connsiteY0" fmla="*/ 10694 h 10956"/>
                <a:gd name="connsiteX1" fmla="*/ 8812 w 10994"/>
                <a:gd name="connsiteY1" fmla="*/ 9676 h 10956"/>
                <a:gd name="connsiteX2" fmla="*/ 10977 w 10994"/>
                <a:gd name="connsiteY2" fmla="*/ 5008 h 10956"/>
                <a:gd name="connsiteX3" fmla="*/ 7342 w 10994"/>
                <a:gd name="connsiteY3" fmla="*/ 242 h 10956"/>
                <a:gd name="connsiteX4" fmla="*/ 6340 w 10994"/>
                <a:gd name="connsiteY4" fmla="*/ 0 h 10956"/>
                <a:gd name="connsiteX5" fmla="*/ 3497 w 10994"/>
                <a:gd name="connsiteY5" fmla="*/ 1098 h 10956"/>
                <a:gd name="connsiteX6" fmla="*/ 56 w 10994"/>
                <a:gd name="connsiteY6" fmla="*/ 7334 h 10956"/>
                <a:gd name="connsiteX7" fmla="*/ 3659 w 10994"/>
                <a:gd name="connsiteY7" fmla="*/ 10694 h 10956"/>
                <a:gd name="connsiteX8" fmla="*/ 3675 w 10994"/>
                <a:gd name="connsiteY8" fmla="*/ 10694 h 1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94" h="10956">
                  <a:moveTo>
                    <a:pt x="3675" y="10694"/>
                  </a:moveTo>
                  <a:cubicBezTo>
                    <a:pt x="5678" y="11276"/>
                    <a:pt x="7681" y="10872"/>
                    <a:pt x="8812" y="9676"/>
                  </a:cubicBezTo>
                  <a:cubicBezTo>
                    <a:pt x="10395" y="7996"/>
                    <a:pt x="11122" y="6429"/>
                    <a:pt x="10977" y="5008"/>
                  </a:cubicBezTo>
                  <a:cubicBezTo>
                    <a:pt x="10783" y="3086"/>
                    <a:pt x="8925" y="1373"/>
                    <a:pt x="7342" y="242"/>
                  </a:cubicBezTo>
                  <a:cubicBezTo>
                    <a:pt x="7035" y="81"/>
                    <a:pt x="6696" y="0"/>
                    <a:pt x="6340" y="0"/>
                  </a:cubicBezTo>
                  <a:cubicBezTo>
                    <a:pt x="5161" y="0"/>
                    <a:pt x="3933" y="792"/>
                    <a:pt x="3497" y="1098"/>
                  </a:cubicBezTo>
                  <a:cubicBezTo>
                    <a:pt x="1187" y="2714"/>
                    <a:pt x="-315" y="5460"/>
                    <a:pt x="56" y="7334"/>
                  </a:cubicBezTo>
                  <a:cubicBezTo>
                    <a:pt x="428" y="9160"/>
                    <a:pt x="2156" y="10258"/>
                    <a:pt x="3659" y="10694"/>
                  </a:cubicBezTo>
                  <a:lnTo>
                    <a:pt x="3675" y="1069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8" name="Free-form: Shape 287">
              <a:extLst>
                <a:ext uri="{FF2B5EF4-FFF2-40B4-BE49-F238E27FC236}">
                  <a16:creationId xmlns:a16="http://schemas.microsoft.com/office/drawing/2014/main" id="{41CA0665-65EC-B85D-2865-5793BF72C313}"/>
                </a:ext>
              </a:extLst>
            </p:cNvPr>
            <p:cNvSpPr/>
            <p:nvPr/>
          </p:nvSpPr>
          <p:spPr>
            <a:xfrm>
              <a:off x="5109727" y="4912764"/>
              <a:ext cx="162022" cy="164475"/>
            </a:xfrm>
            <a:custGeom>
              <a:avLst/>
              <a:gdLst>
                <a:gd name="connsiteX0" fmla="*/ 160469 w 162022"/>
                <a:gd name="connsiteY0" fmla="*/ 57860 h 164475"/>
                <a:gd name="connsiteX1" fmla="*/ 161599 w 162022"/>
                <a:gd name="connsiteY1" fmla="*/ 47893 h 164475"/>
                <a:gd name="connsiteX2" fmla="*/ 151471 w 162022"/>
                <a:gd name="connsiteY2" fmla="*/ 41351 h 164475"/>
                <a:gd name="connsiteX3" fmla="*/ 148563 w 162022"/>
                <a:gd name="connsiteY3" fmla="*/ 42708 h 164475"/>
                <a:gd name="connsiteX4" fmla="*/ 143830 w 162022"/>
                <a:gd name="connsiteY4" fmla="*/ 44711 h 164475"/>
                <a:gd name="connsiteX5" fmla="*/ 127563 w 162022"/>
                <a:gd name="connsiteY5" fmla="*/ 32256 h 164475"/>
                <a:gd name="connsiteX6" fmla="*/ 126093 w 162022"/>
                <a:gd name="connsiteY6" fmla="*/ 24663 h 164475"/>
                <a:gd name="connsiteX7" fmla="*/ 123702 w 162022"/>
                <a:gd name="connsiteY7" fmla="*/ 14955 h 164475"/>
                <a:gd name="connsiteX8" fmla="*/ 99309 w 162022"/>
                <a:gd name="connsiteY8" fmla="*/ 1095 h 164475"/>
                <a:gd name="connsiteX9" fmla="*/ 88227 w 162022"/>
                <a:gd name="connsiteY9" fmla="*/ 562 h 164475"/>
                <a:gd name="connsiteX10" fmla="*/ 84399 w 162022"/>
                <a:gd name="connsiteY10" fmla="*/ 3954 h 164475"/>
                <a:gd name="connsiteX11" fmla="*/ 84156 w 162022"/>
                <a:gd name="connsiteY11" fmla="*/ 6700 h 164475"/>
                <a:gd name="connsiteX12" fmla="*/ 89842 w 162022"/>
                <a:gd name="connsiteY12" fmla="*/ 10771 h 164475"/>
                <a:gd name="connsiteX13" fmla="*/ 97209 w 162022"/>
                <a:gd name="connsiteY13" fmla="*/ 15407 h 164475"/>
                <a:gd name="connsiteX14" fmla="*/ 89600 w 162022"/>
                <a:gd name="connsiteY14" fmla="*/ 44695 h 164475"/>
                <a:gd name="connsiteX15" fmla="*/ 89358 w 162022"/>
                <a:gd name="connsiteY15" fmla="*/ 44921 h 164475"/>
                <a:gd name="connsiteX16" fmla="*/ 82056 w 162022"/>
                <a:gd name="connsiteY16" fmla="*/ 46973 h 164475"/>
                <a:gd name="connsiteX17" fmla="*/ 73284 w 162022"/>
                <a:gd name="connsiteY17" fmla="*/ 39849 h 164475"/>
                <a:gd name="connsiteX18" fmla="*/ 72719 w 162022"/>
                <a:gd name="connsiteY18" fmla="*/ 38653 h 164475"/>
                <a:gd name="connsiteX19" fmla="*/ 71814 w 162022"/>
                <a:gd name="connsiteY19" fmla="*/ 37086 h 164475"/>
                <a:gd name="connsiteX20" fmla="*/ 68874 w 162022"/>
                <a:gd name="connsiteY20" fmla="*/ 41997 h 164475"/>
                <a:gd name="connsiteX21" fmla="*/ 70086 w 162022"/>
                <a:gd name="connsiteY21" fmla="*/ 66503 h 164475"/>
                <a:gd name="connsiteX22" fmla="*/ 70296 w 162022"/>
                <a:gd name="connsiteY22" fmla="*/ 67343 h 164475"/>
                <a:gd name="connsiteX23" fmla="*/ 65870 w 162022"/>
                <a:gd name="connsiteY23" fmla="*/ 98133 h 164475"/>
                <a:gd name="connsiteX24" fmla="*/ 51912 w 162022"/>
                <a:gd name="connsiteY24" fmla="*/ 97067 h 164475"/>
                <a:gd name="connsiteX25" fmla="*/ 46097 w 162022"/>
                <a:gd name="connsiteY25" fmla="*/ 84337 h 164475"/>
                <a:gd name="connsiteX26" fmla="*/ 48229 w 162022"/>
                <a:gd name="connsiteY26" fmla="*/ 78506 h 164475"/>
                <a:gd name="connsiteX27" fmla="*/ 49861 w 162022"/>
                <a:gd name="connsiteY27" fmla="*/ 72351 h 164475"/>
                <a:gd name="connsiteX28" fmla="*/ 40718 w 162022"/>
                <a:gd name="connsiteY28" fmla="*/ 66907 h 164475"/>
                <a:gd name="connsiteX29" fmla="*/ 21187 w 162022"/>
                <a:gd name="connsiteY29" fmla="*/ 65582 h 164475"/>
                <a:gd name="connsiteX30" fmla="*/ 11220 w 162022"/>
                <a:gd name="connsiteY30" fmla="*/ 77537 h 164475"/>
                <a:gd name="connsiteX31" fmla="*/ 12222 w 162022"/>
                <a:gd name="connsiteY31" fmla="*/ 81672 h 164475"/>
                <a:gd name="connsiteX32" fmla="*/ 10671 w 162022"/>
                <a:gd name="connsiteY32" fmla="*/ 94611 h 164475"/>
                <a:gd name="connsiteX33" fmla="*/ 5485 w 162022"/>
                <a:gd name="connsiteY33" fmla="*/ 96744 h 164475"/>
                <a:gd name="connsiteX34" fmla="*/ 3240 w 162022"/>
                <a:gd name="connsiteY34" fmla="*/ 97374 h 164475"/>
                <a:gd name="connsiteX35" fmla="*/ 219 w 162022"/>
                <a:gd name="connsiteY35" fmla="*/ 109425 h 164475"/>
                <a:gd name="connsiteX36" fmla="*/ 2820 w 162022"/>
                <a:gd name="connsiteY36" fmla="*/ 133478 h 164475"/>
                <a:gd name="connsiteX37" fmla="*/ 6067 w 162022"/>
                <a:gd name="connsiteY37" fmla="*/ 141782 h 164475"/>
                <a:gd name="connsiteX38" fmla="*/ 7747 w 162022"/>
                <a:gd name="connsiteY38" fmla="*/ 142299 h 164475"/>
                <a:gd name="connsiteX39" fmla="*/ 10962 w 162022"/>
                <a:gd name="connsiteY39" fmla="*/ 134981 h 164475"/>
                <a:gd name="connsiteX40" fmla="*/ 14919 w 162022"/>
                <a:gd name="connsiteY40" fmla="*/ 123608 h 164475"/>
                <a:gd name="connsiteX41" fmla="*/ 23223 w 162022"/>
                <a:gd name="connsiteY41" fmla="*/ 120038 h 164475"/>
                <a:gd name="connsiteX42" fmla="*/ 31752 w 162022"/>
                <a:gd name="connsiteY42" fmla="*/ 122865 h 164475"/>
                <a:gd name="connsiteX43" fmla="*/ 40039 w 162022"/>
                <a:gd name="connsiteY43" fmla="*/ 136225 h 164475"/>
                <a:gd name="connsiteX44" fmla="*/ 44142 w 162022"/>
                <a:gd name="connsiteY44" fmla="*/ 155351 h 164475"/>
                <a:gd name="connsiteX45" fmla="*/ 44191 w 162022"/>
                <a:gd name="connsiteY45" fmla="*/ 155771 h 164475"/>
                <a:gd name="connsiteX46" fmla="*/ 46178 w 162022"/>
                <a:gd name="connsiteY46" fmla="*/ 162718 h 164475"/>
                <a:gd name="connsiteX47" fmla="*/ 56209 w 162022"/>
                <a:gd name="connsiteY47" fmla="*/ 164091 h 164475"/>
                <a:gd name="connsiteX48" fmla="*/ 117111 w 162022"/>
                <a:gd name="connsiteY48" fmla="*/ 136031 h 164475"/>
                <a:gd name="connsiteX49" fmla="*/ 121020 w 162022"/>
                <a:gd name="connsiteY49" fmla="*/ 128034 h 164475"/>
                <a:gd name="connsiteX50" fmla="*/ 125091 w 162022"/>
                <a:gd name="connsiteY50" fmla="*/ 119699 h 164475"/>
                <a:gd name="connsiteX51" fmla="*/ 140890 w 162022"/>
                <a:gd name="connsiteY51" fmla="*/ 107260 h 164475"/>
                <a:gd name="connsiteX52" fmla="*/ 149807 w 162022"/>
                <a:gd name="connsiteY52" fmla="*/ 113431 h 164475"/>
                <a:gd name="connsiteX53" fmla="*/ 153361 w 162022"/>
                <a:gd name="connsiteY53" fmla="*/ 116985 h 164475"/>
                <a:gd name="connsiteX54" fmla="*/ 159839 w 162022"/>
                <a:gd name="connsiteY54" fmla="*/ 86761 h 164475"/>
                <a:gd name="connsiteX55" fmla="*/ 158837 w 162022"/>
                <a:gd name="connsiteY55" fmla="*/ 64435 h 164475"/>
                <a:gd name="connsiteX56" fmla="*/ 160420 w 162022"/>
                <a:gd name="connsiteY56" fmla="*/ 57877 h 164475"/>
                <a:gd name="connsiteX57" fmla="*/ 160469 w 162022"/>
                <a:gd name="connsiteY57" fmla="*/ 57860 h 16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62022" h="164475">
                  <a:moveTo>
                    <a:pt x="160469" y="57860"/>
                  </a:moveTo>
                  <a:cubicBezTo>
                    <a:pt x="161583" y="54129"/>
                    <a:pt x="162633" y="50591"/>
                    <a:pt x="161599" y="47893"/>
                  </a:cubicBezTo>
                  <a:cubicBezTo>
                    <a:pt x="160049" y="43855"/>
                    <a:pt x="155509" y="40172"/>
                    <a:pt x="151471" y="41351"/>
                  </a:cubicBezTo>
                  <a:cubicBezTo>
                    <a:pt x="150550" y="41625"/>
                    <a:pt x="149581" y="42142"/>
                    <a:pt x="148563" y="42708"/>
                  </a:cubicBezTo>
                  <a:cubicBezTo>
                    <a:pt x="147190" y="43451"/>
                    <a:pt x="145639" y="44307"/>
                    <a:pt x="143830" y="44711"/>
                  </a:cubicBezTo>
                  <a:cubicBezTo>
                    <a:pt x="136367" y="46391"/>
                    <a:pt x="129679" y="39687"/>
                    <a:pt x="127563" y="32256"/>
                  </a:cubicBezTo>
                  <a:cubicBezTo>
                    <a:pt x="126836" y="29720"/>
                    <a:pt x="126464" y="27151"/>
                    <a:pt x="126093" y="24663"/>
                  </a:cubicBezTo>
                  <a:cubicBezTo>
                    <a:pt x="125576" y="21158"/>
                    <a:pt x="125091" y="17846"/>
                    <a:pt x="123702" y="14955"/>
                  </a:cubicBezTo>
                  <a:cubicBezTo>
                    <a:pt x="119744" y="6684"/>
                    <a:pt x="109147" y="3308"/>
                    <a:pt x="99309" y="1095"/>
                  </a:cubicBezTo>
                  <a:cubicBezTo>
                    <a:pt x="95157" y="158"/>
                    <a:pt x="91442" y="-537"/>
                    <a:pt x="88227" y="562"/>
                  </a:cubicBezTo>
                  <a:cubicBezTo>
                    <a:pt x="86612" y="1111"/>
                    <a:pt x="85109" y="2435"/>
                    <a:pt x="84399" y="3954"/>
                  </a:cubicBezTo>
                  <a:cubicBezTo>
                    <a:pt x="84075" y="4632"/>
                    <a:pt x="83769" y="5666"/>
                    <a:pt x="84156" y="6700"/>
                  </a:cubicBezTo>
                  <a:cubicBezTo>
                    <a:pt x="84819" y="8445"/>
                    <a:pt x="86741" y="9414"/>
                    <a:pt x="89842" y="10771"/>
                  </a:cubicBezTo>
                  <a:cubicBezTo>
                    <a:pt x="92330" y="11869"/>
                    <a:pt x="95157" y="13113"/>
                    <a:pt x="97209" y="15407"/>
                  </a:cubicBezTo>
                  <a:cubicBezTo>
                    <a:pt x="104349" y="23404"/>
                    <a:pt x="94980" y="38863"/>
                    <a:pt x="89600" y="44695"/>
                  </a:cubicBezTo>
                  <a:cubicBezTo>
                    <a:pt x="89519" y="44776"/>
                    <a:pt x="89439" y="44856"/>
                    <a:pt x="89358" y="44921"/>
                  </a:cubicBezTo>
                  <a:cubicBezTo>
                    <a:pt x="87226" y="46763"/>
                    <a:pt x="84705" y="47473"/>
                    <a:pt x="82056" y="46973"/>
                  </a:cubicBezTo>
                  <a:cubicBezTo>
                    <a:pt x="77937" y="46197"/>
                    <a:pt x="74754" y="42660"/>
                    <a:pt x="73284" y="39849"/>
                  </a:cubicBezTo>
                  <a:cubicBezTo>
                    <a:pt x="73091" y="39461"/>
                    <a:pt x="72897" y="39057"/>
                    <a:pt x="72719" y="38653"/>
                  </a:cubicBezTo>
                  <a:cubicBezTo>
                    <a:pt x="72444" y="38039"/>
                    <a:pt x="72089" y="37280"/>
                    <a:pt x="71814" y="37086"/>
                  </a:cubicBezTo>
                  <a:cubicBezTo>
                    <a:pt x="71087" y="37119"/>
                    <a:pt x="69262" y="39299"/>
                    <a:pt x="68874" y="41997"/>
                  </a:cubicBezTo>
                  <a:cubicBezTo>
                    <a:pt x="67744" y="50090"/>
                    <a:pt x="68164" y="58555"/>
                    <a:pt x="70086" y="66503"/>
                  </a:cubicBezTo>
                  <a:lnTo>
                    <a:pt x="70296" y="67343"/>
                  </a:lnTo>
                  <a:cubicBezTo>
                    <a:pt x="72832" y="77714"/>
                    <a:pt x="76289" y="91897"/>
                    <a:pt x="65870" y="98133"/>
                  </a:cubicBezTo>
                  <a:cubicBezTo>
                    <a:pt x="61734" y="100588"/>
                    <a:pt x="56387" y="100184"/>
                    <a:pt x="51912" y="97067"/>
                  </a:cubicBezTo>
                  <a:cubicBezTo>
                    <a:pt x="47438" y="93949"/>
                    <a:pt x="45208" y="89071"/>
                    <a:pt x="46097" y="84337"/>
                  </a:cubicBezTo>
                  <a:cubicBezTo>
                    <a:pt x="46501" y="82205"/>
                    <a:pt x="47373" y="80331"/>
                    <a:pt x="48229" y="78506"/>
                  </a:cubicBezTo>
                  <a:cubicBezTo>
                    <a:pt x="49312" y="76163"/>
                    <a:pt x="50265" y="74144"/>
                    <a:pt x="49861" y="72351"/>
                  </a:cubicBezTo>
                  <a:cubicBezTo>
                    <a:pt x="49312" y="69911"/>
                    <a:pt x="46404" y="68183"/>
                    <a:pt x="40718" y="66907"/>
                  </a:cubicBezTo>
                  <a:cubicBezTo>
                    <a:pt x="34514" y="65518"/>
                    <a:pt x="27471" y="63934"/>
                    <a:pt x="21187" y="65582"/>
                  </a:cubicBezTo>
                  <a:cubicBezTo>
                    <a:pt x="15840" y="67004"/>
                    <a:pt x="10509" y="71979"/>
                    <a:pt x="11220" y="77537"/>
                  </a:cubicBezTo>
                  <a:cubicBezTo>
                    <a:pt x="11382" y="78780"/>
                    <a:pt x="11785" y="80186"/>
                    <a:pt x="12222" y="81672"/>
                  </a:cubicBezTo>
                  <a:cubicBezTo>
                    <a:pt x="13433" y="85856"/>
                    <a:pt x="14935" y="91074"/>
                    <a:pt x="10671" y="94611"/>
                  </a:cubicBezTo>
                  <a:cubicBezTo>
                    <a:pt x="9023" y="95985"/>
                    <a:pt x="7133" y="96388"/>
                    <a:pt x="5485" y="96744"/>
                  </a:cubicBezTo>
                  <a:cubicBezTo>
                    <a:pt x="4645" y="96922"/>
                    <a:pt x="3854" y="97099"/>
                    <a:pt x="3240" y="97374"/>
                  </a:cubicBezTo>
                  <a:cubicBezTo>
                    <a:pt x="-169" y="98925"/>
                    <a:pt x="-282" y="104789"/>
                    <a:pt x="219" y="109425"/>
                  </a:cubicBezTo>
                  <a:lnTo>
                    <a:pt x="2820" y="133478"/>
                  </a:lnTo>
                  <a:cubicBezTo>
                    <a:pt x="3224" y="137210"/>
                    <a:pt x="4532" y="140538"/>
                    <a:pt x="6067" y="141782"/>
                  </a:cubicBezTo>
                  <a:cubicBezTo>
                    <a:pt x="6600" y="142202"/>
                    <a:pt x="7101" y="142347"/>
                    <a:pt x="7747" y="142299"/>
                  </a:cubicBezTo>
                  <a:cubicBezTo>
                    <a:pt x="9588" y="142105"/>
                    <a:pt x="10170" y="140295"/>
                    <a:pt x="10962" y="134981"/>
                  </a:cubicBezTo>
                  <a:cubicBezTo>
                    <a:pt x="11543" y="131120"/>
                    <a:pt x="12189" y="126726"/>
                    <a:pt x="14919" y="123608"/>
                  </a:cubicBezTo>
                  <a:cubicBezTo>
                    <a:pt x="17116" y="121104"/>
                    <a:pt x="20153" y="120038"/>
                    <a:pt x="23223" y="120038"/>
                  </a:cubicBezTo>
                  <a:cubicBezTo>
                    <a:pt x="26292" y="120038"/>
                    <a:pt x="29410" y="121104"/>
                    <a:pt x="31752" y="122865"/>
                  </a:cubicBezTo>
                  <a:cubicBezTo>
                    <a:pt x="36324" y="126322"/>
                    <a:pt x="38585" y="131814"/>
                    <a:pt x="40039" y="136225"/>
                  </a:cubicBezTo>
                  <a:cubicBezTo>
                    <a:pt x="42091" y="142428"/>
                    <a:pt x="43464" y="148857"/>
                    <a:pt x="44142" y="155351"/>
                  </a:cubicBezTo>
                  <a:lnTo>
                    <a:pt x="44191" y="155771"/>
                  </a:lnTo>
                  <a:cubicBezTo>
                    <a:pt x="44465" y="158420"/>
                    <a:pt x="44756" y="161167"/>
                    <a:pt x="46178" y="162718"/>
                  </a:cubicBezTo>
                  <a:cubicBezTo>
                    <a:pt x="48181" y="164882"/>
                    <a:pt x="52187" y="164656"/>
                    <a:pt x="56209" y="164091"/>
                  </a:cubicBezTo>
                  <a:cubicBezTo>
                    <a:pt x="79617" y="160795"/>
                    <a:pt x="105577" y="155626"/>
                    <a:pt x="117111" y="136031"/>
                  </a:cubicBezTo>
                  <a:cubicBezTo>
                    <a:pt x="118597" y="133527"/>
                    <a:pt x="119776" y="130861"/>
                    <a:pt x="121020" y="128034"/>
                  </a:cubicBezTo>
                  <a:cubicBezTo>
                    <a:pt x="122248" y="125272"/>
                    <a:pt x="123508" y="122413"/>
                    <a:pt x="125091" y="119699"/>
                  </a:cubicBezTo>
                  <a:cubicBezTo>
                    <a:pt x="129194" y="112640"/>
                    <a:pt x="134800" y="108213"/>
                    <a:pt x="140890" y="107260"/>
                  </a:cubicBezTo>
                  <a:cubicBezTo>
                    <a:pt x="145768" y="106485"/>
                    <a:pt x="148208" y="110668"/>
                    <a:pt x="149807" y="113431"/>
                  </a:cubicBezTo>
                  <a:cubicBezTo>
                    <a:pt x="151616" y="116533"/>
                    <a:pt x="152279" y="117195"/>
                    <a:pt x="153361" y="116985"/>
                  </a:cubicBezTo>
                  <a:cubicBezTo>
                    <a:pt x="162472" y="115192"/>
                    <a:pt x="161842" y="103851"/>
                    <a:pt x="159839" y="86761"/>
                  </a:cubicBezTo>
                  <a:cubicBezTo>
                    <a:pt x="158934" y="79006"/>
                    <a:pt x="157997" y="70994"/>
                    <a:pt x="158837" y="64435"/>
                  </a:cubicBezTo>
                  <a:cubicBezTo>
                    <a:pt x="159128" y="62238"/>
                    <a:pt x="159790" y="60025"/>
                    <a:pt x="160420" y="57877"/>
                  </a:cubicBezTo>
                  <a:lnTo>
                    <a:pt x="160469" y="5786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9" name="Free-form: Shape 288">
              <a:extLst>
                <a:ext uri="{FF2B5EF4-FFF2-40B4-BE49-F238E27FC236}">
                  <a16:creationId xmlns:a16="http://schemas.microsoft.com/office/drawing/2014/main" id="{CB6E5BB7-ABF6-6A89-4FD5-F8A669FEDADC}"/>
                </a:ext>
              </a:extLst>
            </p:cNvPr>
            <p:cNvSpPr/>
            <p:nvPr/>
          </p:nvSpPr>
          <p:spPr>
            <a:xfrm>
              <a:off x="5028471" y="2857105"/>
              <a:ext cx="12013" cy="18651"/>
            </a:xfrm>
            <a:custGeom>
              <a:avLst/>
              <a:gdLst>
                <a:gd name="connsiteX0" fmla="*/ 3305 w 12013"/>
                <a:gd name="connsiteY0" fmla="*/ 18626 h 18651"/>
                <a:gd name="connsiteX1" fmla="*/ 10090 w 12013"/>
                <a:gd name="connsiteY1" fmla="*/ 14410 h 18651"/>
                <a:gd name="connsiteX2" fmla="*/ 11560 w 12013"/>
                <a:gd name="connsiteY2" fmla="*/ 0 h 18651"/>
                <a:gd name="connsiteX3" fmla="*/ 9315 w 12013"/>
                <a:gd name="connsiteY3" fmla="*/ 1745 h 18651"/>
                <a:gd name="connsiteX4" fmla="*/ 8022 w 12013"/>
                <a:gd name="connsiteY4" fmla="*/ 4523 h 18651"/>
                <a:gd name="connsiteX5" fmla="*/ 5179 w 12013"/>
                <a:gd name="connsiteY5" fmla="*/ 9693 h 18651"/>
                <a:gd name="connsiteX6" fmla="*/ 2465 w 12013"/>
                <a:gd name="connsiteY6" fmla="*/ 12132 h 18651"/>
                <a:gd name="connsiteX7" fmla="*/ 171 w 12013"/>
                <a:gd name="connsiteY7" fmla="*/ 14410 h 18651"/>
                <a:gd name="connsiteX8" fmla="*/ 398 w 12013"/>
                <a:gd name="connsiteY8" fmla="*/ 16558 h 18651"/>
                <a:gd name="connsiteX9" fmla="*/ 3305 w 12013"/>
                <a:gd name="connsiteY9" fmla="*/ 18642 h 18651"/>
                <a:gd name="connsiteX10" fmla="*/ 3305 w 12013"/>
                <a:gd name="connsiteY10" fmla="*/ 18626 h 1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13" h="18651">
                  <a:moveTo>
                    <a:pt x="3305" y="18626"/>
                  </a:moveTo>
                  <a:cubicBezTo>
                    <a:pt x="6100" y="18917"/>
                    <a:pt x="8701" y="16720"/>
                    <a:pt x="10090" y="14410"/>
                  </a:cubicBezTo>
                  <a:cubicBezTo>
                    <a:pt x="11867" y="11437"/>
                    <a:pt x="12546" y="4103"/>
                    <a:pt x="11560" y="0"/>
                  </a:cubicBezTo>
                  <a:cubicBezTo>
                    <a:pt x="10785" y="162"/>
                    <a:pt x="9815" y="921"/>
                    <a:pt x="9315" y="1745"/>
                  </a:cubicBezTo>
                  <a:cubicBezTo>
                    <a:pt x="8830" y="2552"/>
                    <a:pt x="8426" y="3506"/>
                    <a:pt x="8022" y="4523"/>
                  </a:cubicBezTo>
                  <a:cubicBezTo>
                    <a:pt x="7344" y="6187"/>
                    <a:pt x="6569" y="8061"/>
                    <a:pt x="5179" y="9693"/>
                  </a:cubicBezTo>
                  <a:cubicBezTo>
                    <a:pt x="4323" y="10678"/>
                    <a:pt x="3338" y="11453"/>
                    <a:pt x="2465" y="12132"/>
                  </a:cubicBezTo>
                  <a:cubicBezTo>
                    <a:pt x="1431" y="12940"/>
                    <a:pt x="543" y="13634"/>
                    <a:pt x="171" y="14410"/>
                  </a:cubicBezTo>
                  <a:cubicBezTo>
                    <a:pt x="-216" y="15217"/>
                    <a:pt x="139" y="16090"/>
                    <a:pt x="398" y="16558"/>
                  </a:cubicBezTo>
                  <a:cubicBezTo>
                    <a:pt x="1028" y="17689"/>
                    <a:pt x="2191" y="18529"/>
                    <a:pt x="3305" y="18642"/>
                  </a:cubicBezTo>
                  <a:lnTo>
                    <a:pt x="3305" y="1862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0" name="Free-form: Shape 289">
              <a:extLst>
                <a:ext uri="{FF2B5EF4-FFF2-40B4-BE49-F238E27FC236}">
                  <a16:creationId xmlns:a16="http://schemas.microsoft.com/office/drawing/2014/main" id="{F3B79800-57A1-8EFE-7860-83E499B3FFB8}"/>
                </a:ext>
              </a:extLst>
            </p:cNvPr>
            <p:cNvSpPr/>
            <p:nvPr/>
          </p:nvSpPr>
          <p:spPr>
            <a:xfrm>
              <a:off x="5491993" y="2381139"/>
              <a:ext cx="8642" cy="15127"/>
            </a:xfrm>
            <a:custGeom>
              <a:avLst/>
              <a:gdLst>
                <a:gd name="connsiteX0" fmla="*/ 6720 w 8642"/>
                <a:gd name="connsiteY0" fmla="*/ 0 h 15127"/>
                <a:gd name="connsiteX1" fmla="*/ 5686 w 8642"/>
                <a:gd name="connsiteY1" fmla="*/ 194 h 15127"/>
                <a:gd name="connsiteX2" fmla="*/ 1938 w 8642"/>
                <a:gd name="connsiteY2" fmla="*/ 4006 h 15127"/>
                <a:gd name="connsiteX3" fmla="*/ 65 w 8642"/>
                <a:gd name="connsiteY3" fmla="*/ 11873 h 15127"/>
                <a:gd name="connsiteX4" fmla="*/ 1793 w 8642"/>
                <a:gd name="connsiteY4" fmla="*/ 14700 h 15127"/>
                <a:gd name="connsiteX5" fmla="*/ 3247 w 8642"/>
                <a:gd name="connsiteY5" fmla="*/ 15104 h 15127"/>
                <a:gd name="connsiteX6" fmla="*/ 5945 w 8642"/>
                <a:gd name="connsiteY6" fmla="*/ 12665 h 15127"/>
                <a:gd name="connsiteX7" fmla="*/ 8352 w 8642"/>
                <a:gd name="connsiteY7" fmla="*/ 5476 h 15127"/>
                <a:gd name="connsiteX8" fmla="*/ 8513 w 8642"/>
                <a:gd name="connsiteY8" fmla="*/ 1825 h 15127"/>
                <a:gd name="connsiteX9" fmla="*/ 8642 w 8642"/>
                <a:gd name="connsiteY9" fmla="*/ 582 h 15127"/>
                <a:gd name="connsiteX10" fmla="*/ 8336 w 8642"/>
                <a:gd name="connsiteY10" fmla="*/ 436 h 15127"/>
                <a:gd name="connsiteX11" fmla="*/ 6736 w 8642"/>
                <a:gd name="connsiteY11" fmla="*/ 0 h 15127"/>
                <a:gd name="connsiteX12" fmla="*/ 6720 w 8642"/>
                <a:gd name="connsiteY12" fmla="*/ 0 h 1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42" h="15127">
                  <a:moveTo>
                    <a:pt x="6720" y="0"/>
                  </a:moveTo>
                  <a:cubicBezTo>
                    <a:pt x="6381" y="0"/>
                    <a:pt x="6042" y="65"/>
                    <a:pt x="5686" y="194"/>
                  </a:cubicBezTo>
                  <a:cubicBezTo>
                    <a:pt x="3893" y="840"/>
                    <a:pt x="2358" y="3005"/>
                    <a:pt x="1938" y="4006"/>
                  </a:cubicBezTo>
                  <a:cubicBezTo>
                    <a:pt x="888" y="6510"/>
                    <a:pt x="-291" y="9353"/>
                    <a:pt x="65" y="11873"/>
                  </a:cubicBezTo>
                  <a:cubicBezTo>
                    <a:pt x="226" y="12956"/>
                    <a:pt x="921" y="14087"/>
                    <a:pt x="1793" y="14700"/>
                  </a:cubicBezTo>
                  <a:cubicBezTo>
                    <a:pt x="2294" y="15056"/>
                    <a:pt x="2778" y="15185"/>
                    <a:pt x="3247" y="15104"/>
                  </a:cubicBezTo>
                  <a:cubicBezTo>
                    <a:pt x="4038" y="14943"/>
                    <a:pt x="4943" y="14119"/>
                    <a:pt x="5945" y="12665"/>
                  </a:cubicBezTo>
                  <a:cubicBezTo>
                    <a:pt x="7172" y="10856"/>
                    <a:pt x="8594" y="8142"/>
                    <a:pt x="8352" y="5476"/>
                  </a:cubicBezTo>
                  <a:cubicBezTo>
                    <a:pt x="8239" y="4168"/>
                    <a:pt x="8384" y="2924"/>
                    <a:pt x="8513" y="1825"/>
                  </a:cubicBezTo>
                  <a:cubicBezTo>
                    <a:pt x="8562" y="1454"/>
                    <a:pt x="8610" y="969"/>
                    <a:pt x="8642" y="582"/>
                  </a:cubicBezTo>
                  <a:cubicBezTo>
                    <a:pt x="8529" y="533"/>
                    <a:pt x="8432" y="501"/>
                    <a:pt x="8336" y="436"/>
                  </a:cubicBezTo>
                  <a:cubicBezTo>
                    <a:pt x="7770" y="145"/>
                    <a:pt x="7253" y="0"/>
                    <a:pt x="6736" y="0"/>
                  </a:cubicBezTo>
                  <a:lnTo>
                    <a:pt x="6720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1" name="Free-form: Shape 290">
              <a:extLst>
                <a:ext uri="{FF2B5EF4-FFF2-40B4-BE49-F238E27FC236}">
                  <a16:creationId xmlns:a16="http://schemas.microsoft.com/office/drawing/2014/main" id="{CACC73C6-D3F3-2275-2269-74D84C1C8511}"/>
                </a:ext>
              </a:extLst>
            </p:cNvPr>
            <p:cNvSpPr/>
            <p:nvPr/>
          </p:nvSpPr>
          <p:spPr>
            <a:xfrm>
              <a:off x="4972444" y="2854971"/>
              <a:ext cx="11938" cy="13062"/>
            </a:xfrm>
            <a:custGeom>
              <a:avLst/>
              <a:gdLst>
                <a:gd name="connsiteX0" fmla="*/ 5523 w 11938"/>
                <a:gd name="connsiteY0" fmla="*/ 12843 h 13062"/>
                <a:gd name="connsiteX1" fmla="*/ 10353 w 11938"/>
                <a:gd name="connsiteY1" fmla="*/ 11906 h 13062"/>
                <a:gd name="connsiteX2" fmla="*/ 11936 w 11938"/>
                <a:gd name="connsiteY2" fmla="*/ 9062 h 13062"/>
                <a:gd name="connsiteX3" fmla="*/ 4101 w 11938"/>
                <a:gd name="connsiteY3" fmla="*/ 2116 h 13062"/>
                <a:gd name="connsiteX4" fmla="*/ 2130 w 11938"/>
                <a:gd name="connsiteY4" fmla="*/ 81 h 13062"/>
                <a:gd name="connsiteX5" fmla="*/ 1678 w 11938"/>
                <a:gd name="connsiteY5" fmla="*/ 0 h 13062"/>
                <a:gd name="connsiteX6" fmla="*/ 1097 w 11938"/>
                <a:gd name="connsiteY6" fmla="*/ 145 h 13062"/>
                <a:gd name="connsiteX7" fmla="*/ 14 w 11938"/>
                <a:gd name="connsiteY7" fmla="*/ 4119 h 13062"/>
                <a:gd name="connsiteX8" fmla="*/ 5507 w 11938"/>
                <a:gd name="connsiteY8" fmla="*/ 12843 h 13062"/>
                <a:gd name="connsiteX9" fmla="*/ 5523 w 11938"/>
                <a:gd name="connsiteY9" fmla="*/ 12843 h 1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38" h="13062">
                  <a:moveTo>
                    <a:pt x="5523" y="12843"/>
                  </a:moveTo>
                  <a:cubicBezTo>
                    <a:pt x="6993" y="13343"/>
                    <a:pt x="8931" y="12972"/>
                    <a:pt x="10353" y="11906"/>
                  </a:cubicBezTo>
                  <a:cubicBezTo>
                    <a:pt x="10967" y="11437"/>
                    <a:pt x="12001" y="10452"/>
                    <a:pt x="11936" y="9062"/>
                  </a:cubicBezTo>
                  <a:cubicBezTo>
                    <a:pt x="11758" y="4879"/>
                    <a:pt x="6395" y="2811"/>
                    <a:pt x="4101" y="2116"/>
                  </a:cubicBezTo>
                  <a:cubicBezTo>
                    <a:pt x="3132" y="1825"/>
                    <a:pt x="2389" y="1050"/>
                    <a:pt x="2130" y="81"/>
                  </a:cubicBezTo>
                  <a:cubicBezTo>
                    <a:pt x="2017" y="32"/>
                    <a:pt x="1856" y="0"/>
                    <a:pt x="1678" y="0"/>
                  </a:cubicBezTo>
                  <a:cubicBezTo>
                    <a:pt x="1468" y="0"/>
                    <a:pt x="1226" y="49"/>
                    <a:pt x="1097" y="145"/>
                  </a:cubicBezTo>
                  <a:cubicBezTo>
                    <a:pt x="321" y="775"/>
                    <a:pt x="-83" y="2262"/>
                    <a:pt x="14" y="4119"/>
                  </a:cubicBezTo>
                  <a:cubicBezTo>
                    <a:pt x="192" y="7479"/>
                    <a:pt x="1985" y="11647"/>
                    <a:pt x="5507" y="12843"/>
                  </a:cubicBezTo>
                  <a:lnTo>
                    <a:pt x="5523" y="128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2" name="Free-form: Shape 291">
              <a:extLst>
                <a:ext uri="{FF2B5EF4-FFF2-40B4-BE49-F238E27FC236}">
                  <a16:creationId xmlns:a16="http://schemas.microsoft.com/office/drawing/2014/main" id="{C47192A5-6B03-D0A2-CFE4-1B47272A9F21}"/>
                </a:ext>
              </a:extLst>
            </p:cNvPr>
            <p:cNvSpPr/>
            <p:nvPr/>
          </p:nvSpPr>
          <p:spPr>
            <a:xfrm>
              <a:off x="5093060" y="4747276"/>
              <a:ext cx="23299" cy="36807"/>
            </a:xfrm>
            <a:custGeom>
              <a:avLst/>
              <a:gdLst>
                <a:gd name="connsiteX0" fmla="*/ 1734 w 23299"/>
                <a:gd name="connsiteY0" fmla="*/ 0 h 36807"/>
                <a:gd name="connsiteX1" fmla="*/ 716 w 23299"/>
                <a:gd name="connsiteY1" fmla="*/ 129 h 36807"/>
                <a:gd name="connsiteX2" fmla="*/ 135 w 23299"/>
                <a:gd name="connsiteY2" fmla="*/ 905 h 36807"/>
                <a:gd name="connsiteX3" fmla="*/ 781 w 23299"/>
                <a:gd name="connsiteY3" fmla="*/ 4523 h 36807"/>
                <a:gd name="connsiteX4" fmla="*/ 3882 w 23299"/>
                <a:gd name="connsiteY4" fmla="*/ 7851 h 36807"/>
                <a:gd name="connsiteX5" fmla="*/ 7566 w 23299"/>
                <a:gd name="connsiteY5" fmla="*/ 11776 h 36807"/>
                <a:gd name="connsiteX6" fmla="*/ 11507 w 23299"/>
                <a:gd name="connsiteY6" fmla="*/ 24780 h 36807"/>
                <a:gd name="connsiteX7" fmla="*/ 14108 w 23299"/>
                <a:gd name="connsiteY7" fmla="*/ 34715 h 36807"/>
                <a:gd name="connsiteX8" fmla="*/ 16144 w 23299"/>
                <a:gd name="connsiteY8" fmla="*/ 36654 h 36807"/>
                <a:gd name="connsiteX9" fmla="*/ 18163 w 23299"/>
                <a:gd name="connsiteY9" fmla="*/ 36476 h 36807"/>
                <a:gd name="connsiteX10" fmla="*/ 22492 w 23299"/>
                <a:gd name="connsiteY10" fmla="*/ 29982 h 36807"/>
                <a:gd name="connsiteX11" fmla="*/ 21571 w 23299"/>
                <a:gd name="connsiteY11" fmla="*/ 11405 h 36807"/>
                <a:gd name="connsiteX12" fmla="*/ 20828 w 23299"/>
                <a:gd name="connsiteY12" fmla="*/ 7770 h 36807"/>
                <a:gd name="connsiteX13" fmla="*/ 20812 w 23299"/>
                <a:gd name="connsiteY13" fmla="*/ 7673 h 36807"/>
                <a:gd name="connsiteX14" fmla="*/ 14512 w 23299"/>
                <a:gd name="connsiteY14" fmla="*/ 2084 h 36807"/>
                <a:gd name="connsiteX15" fmla="*/ 2881 w 23299"/>
                <a:gd name="connsiteY15" fmla="*/ 64 h 36807"/>
                <a:gd name="connsiteX16" fmla="*/ 1766 w 23299"/>
                <a:gd name="connsiteY16" fmla="*/ 16 h 36807"/>
                <a:gd name="connsiteX17" fmla="*/ 1734 w 23299"/>
                <a:gd name="connsiteY17" fmla="*/ 0 h 3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299" h="36807">
                  <a:moveTo>
                    <a:pt x="1734" y="0"/>
                  </a:moveTo>
                  <a:cubicBezTo>
                    <a:pt x="1330" y="0"/>
                    <a:pt x="959" y="32"/>
                    <a:pt x="716" y="129"/>
                  </a:cubicBezTo>
                  <a:cubicBezTo>
                    <a:pt x="603" y="178"/>
                    <a:pt x="312" y="291"/>
                    <a:pt x="135" y="905"/>
                  </a:cubicBezTo>
                  <a:cubicBezTo>
                    <a:pt x="-188" y="1938"/>
                    <a:pt x="86" y="3505"/>
                    <a:pt x="781" y="4523"/>
                  </a:cubicBezTo>
                  <a:cubicBezTo>
                    <a:pt x="1556" y="5686"/>
                    <a:pt x="2687" y="6736"/>
                    <a:pt x="3882" y="7851"/>
                  </a:cubicBezTo>
                  <a:cubicBezTo>
                    <a:pt x="5142" y="9030"/>
                    <a:pt x="6451" y="10242"/>
                    <a:pt x="7566" y="11776"/>
                  </a:cubicBezTo>
                  <a:cubicBezTo>
                    <a:pt x="10409" y="15718"/>
                    <a:pt x="10958" y="20322"/>
                    <a:pt x="11507" y="24780"/>
                  </a:cubicBezTo>
                  <a:cubicBezTo>
                    <a:pt x="11960" y="28496"/>
                    <a:pt x="12380" y="32001"/>
                    <a:pt x="14108" y="34715"/>
                  </a:cubicBezTo>
                  <a:cubicBezTo>
                    <a:pt x="14560" y="35426"/>
                    <a:pt x="15271" y="36331"/>
                    <a:pt x="16144" y="36654"/>
                  </a:cubicBezTo>
                  <a:cubicBezTo>
                    <a:pt x="16596" y="36815"/>
                    <a:pt x="17242" y="36961"/>
                    <a:pt x="18163" y="36476"/>
                  </a:cubicBezTo>
                  <a:cubicBezTo>
                    <a:pt x="19956" y="35539"/>
                    <a:pt x="21781" y="32809"/>
                    <a:pt x="22492" y="29982"/>
                  </a:cubicBezTo>
                  <a:cubicBezTo>
                    <a:pt x="24124" y="23504"/>
                    <a:pt x="23009" y="18173"/>
                    <a:pt x="21571" y="11405"/>
                  </a:cubicBezTo>
                  <a:cubicBezTo>
                    <a:pt x="21329" y="10226"/>
                    <a:pt x="21071" y="9014"/>
                    <a:pt x="20828" y="7770"/>
                  </a:cubicBezTo>
                  <a:cubicBezTo>
                    <a:pt x="20828" y="7738"/>
                    <a:pt x="20828" y="7705"/>
                    <a:pt x="20812" y="7673"/>
                  </a:cubicBezTo>
                  <a:cubicBezTo>
                    <a:pt x="20392" y="5056"/>
                    <a:pt x="18276" y="3683"/>
                    <a:pt x="14512" y="2084"/>
                  </a:cubicBezTo>
                  <a:cubicBezTo>
                    <a:pt x="10990" y="582"/>
                    <a:pt x="6871" y="323"/>
                    <a:pt x="2881" y="64"/>
                  </a:cubicBezTo>
                  <a:cubicBezTo>
                    <a:pt x="2526" y="48"/>
                    <a:pt x="2138" y="16"/>
                    <a:pt x="1766" y="16"/>
                  </a:cubicBezTo>
                  <a:lnTo>
                    <a:pt x="1734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3" name="Free-form: Shape 292">
              <a:extLst>
                <a:ext uri="{FF2B5EF4-FFF2-40B4-BE49-F238E27FC236}">
                  <a16:creationId xmlns:a16="http://schemas.microsoft.com/office/drawing/2014/main" id="{25DD47A0-71C5-231F-25F2-ABCD32A36C5E}"/>
                </a:ext>
              </a:extLst>
            </p:cNvPr>
            <p:cNvSpPr/>
            <p:nvPr/>
          </p:nvSpPr>
          <p:spPr>
            <a:xfrm>
              <a:off x="5005362" y="2900689"/>
              <a:ext cx="15397" cy="11663"/>
            </a:xfrm>
            <a:custGeom>
              <a:avLst/>
              <a:gdLst>
                <a:gd name="connsiteX0" fmla="*/ 6092 w 15397"/>
                <a:gd name="connsiteY0" fmla="*/ 11647 h 11663"/>
                <a:gd name="connsiteX1" fmla="*/ 15074 w 15397"/>
                <a:gd name="connsiteY1" fmla="*/ 6995 h 11663"/>
                <a:gd name="connsiteX2" fmla="*/ 14460 w 15397"/>
                <a:gd name="connsiteY2" fmla="*/ 2213 h 11663"/>
                <a:gd name="connsiteX3" fmla="*/ 11762 w 15397"/>
                <a:gd name="connsiteY3" fmla="*/ 485 h 11663"/>
                <a:gd name="connsiteX4" fmla="*/ 10550 w 15397"/>
                <a:gd name="connsiteY4" fmla="*/ 210 h 11663"/>
                <a:gd name="connsiteX5" fmla="*/ 8256 w 15397"/>
                <a:gd name="connsiteY5" fmla="*/ 0 h 11663"/>
                <a:gd name="connsiteX6" fmla="*/ 1779 w 15397"/>
                <a:gd name="connsiteY6" fmla="*/ 2342 h 11663"/>
                <a:gd name="connsiteX7" fmla="*/ 1116 w 15397"/>
                <a:gd name="connsiteY7" fmla="*/ 9838 h 11663"/>
                <a:gd name="connsiteX8" fmla="*/ 6076 w 15397"/>
                <a:gd name="connsiteY8" fmla="*/ 11663 h 11663"/>
                <a:gd name="connsiteX9" fmla="*/ 6092 w 15397"/>
                <a:gd name="connsiteY9" fmla="*/ 11647 h 1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97" h="11663">
                  <a:moveTo>
                    <a:pt x="6092" y="11647"/>
                  </a:moveTo>
                  <a:cubicBezTo>
                    <a:pt x="9484" y="11776"/>
                    <a:pt x="13700" y="10242"/>
                    <a:pt x="15074" y="6995"/>
                  </a:cubicBezTo>
                  <a:cubicBezTo>
                    <a:pt x="15671" y="5589"/>
                    <a:pt x="15429" y="3667"/>
                    <a:pt x="14460" y="2213"/>
                  </a:cubicBezTo>
                  <a:cubicBezTo>
                    <a:pt x="14040" y="1583"/>
                    <a:pt x="13135" y="501"/>
                    <a:pt x="11762" y="485"/>
                  </a:cubicBezTo>
                  <a:cubicBezTo>
                    <a:pt x="11326" y="485"/>
                    <a:pt x="10922" y="388"/>
                    <a:pt x="10550" y="210"/>
                  </a:cubicBezTo>
                  <a:cubicBezTo>
                    <a:pt x="9791" y="65"/>
                    <a:pt x="9016" y="0"/>
                    <a:pt x="8256" y="0"/>
                  </a:cubicBezTo>
                  <a:cubicBezTo>
                    <a:pt x="5688" y="0"/>
                    <a:pt x="3313" y="824"/>
                    <a:pt x="1779" y="2342"/>
                  </a:cubicBezTo>
                  <a:cubicBezTo>
                    <a:pt x="-289" y="4378"/>
                    <a:pt x="-612" y="8029"/>
                    <a:pt x="1116" y="9838"/>
                  </a:cubicBezTo>
                  <a:cubicBezTo>
                    <a:pt x="2506" y="11292"/>
                    <a:pt x="4816" y="11599"/>
                    <a:pt x="6076" y="11663"/>
                  </a:cubicBezTo>
                  <a:lnTo>
                    <a:pt x="6092" y="1164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4" name="Free-form: Shape 293">
              <a:extLst>
                <a:ext uri="{FF2B5EF4-FFF2-40B4-BE49-F238E27FC236}">
                  <a16:creationId xmlns:a16="http://schemas.microsoft.com/office/drawing/2014/main" id="{ABE0E6D9-C9EF-74BC-1869-54185C54783D}"/>
                </a:ext>
              </a:extLst>
            </p:cNvPr>
            <p:cNvSpPr/>
            <p:nvPr/>
          </p:nvSpPr>
          <p:spPr>
            <a:xfrm>
              <a:off x="5405891" y="5223278"/>
              <a:ext cx="41173" cy="36870"/>
            </a:xfrm>
            <a:custGeom>
              <a:avLst/>
              <a:gdLst>
                <a:gd name="connsiteX0" fmla="*/ 14313 w 41173"/>
                <a:gd name="connsiteY0" fmla="*/ 36829 h 36870"/>
                <a:gd name="connsiteX1" fmla="*/ 16978 w 41173"/>
                <a:gd name="connsiteY1" fmla="*/ 28187 h 36870"/>
                <a:gd name="connsiteX2" fmla="*/ 18190 w 41173"/>
                <a:gd name="connsiteY2" fmla="*/ 25618 h 36870"/>
                <a:gd name="connsiteX3" fmla="*/ 21000 w 41173"/>
                <a:gd name="connsiteY3" fmla="*/ 25312 h 36870"/>
                <a:gd name="connsiteX4" fmla="*/ 37849 w 41173"/>
                <a:gd name="connsiteY4" fmla="*/ 32452 h 36870"/>
                <a:gd name="connsiteX5" fmla="*/ 39675 w 41173"/>
                <a:gd name="connsiteY5" fmla="*/ 33001 h 36870"/>
                <a:gd name="connsiteX6" fmla="*/ 40224 w 41173"/>
                <a:gd name="connsiteY6" fmla="*/ 32387 h 36870"/>
                <a:gd name="connsiteX7" fmla="*/ 36961 w 41173"/>
                <a:gd name="connsiteY7" fmla="*/ 19900 h 36870"/>
                <a:gd name="connsiteX8" fmla="*/ 32728 w 41173"/>
                <a:gd name="connsiteY8" fmla="*/ 15845 h 36870"/>
                <a:gd name="connsiteX9" fmla="*/ 24457 w 41173"/>
                <a:gd name="connsiteY9" fmla="*/ 6411 h 36870"/>
                <a:gd name="connsiteX10" fmla="*/ 23617 w 41173"/>
                <a:gd name="connsiteY10" fmla="*/ 4731 h 36870"/>
                <a:gd name="connsiteX11" fmla="*/ 22180 w 41173"/>
                <a:gd name="connsiteY11" fmla="*/ 2162 h 36870"/>
                <a:gd name="connsiteX12" fmla="*/ 11373 w 41173"/>
                <a:gd name="connsiteY12" fmla="*/ 1823 h 36870"/>
                <a:gd name="connsiteX13" fmla="*/ 0 w 41173"/>
                <a:gd name="connsiteY13" fmla="*/ 16233 h 36870"/>
                <a:gd name="connsiteX14" fmla="*/ 8400 w 41173"/>
                <a:gd name="connsiteY14" fmla="*/ 31402 h 36870"/>
                <a:gd name="connsiteX15" fmla="*/ 14313 w 41173"/>
                <a:gd name="connsiteY15" fmla="*/ 36829 h 3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173" h="36870">
                  <a:moveTo>
                    <a:pt x="14313" y="36829"/>
                  </a:moveTo>
                  <a:cubicBezTo>
                    <a:pt x="16687" y="36361"/>
                    <a:pt x="17237" y="31886"/>
                    <a:pt x="16978" y="28187"/>
                  </a:cubicBezTo>
                  <a:cubicBezTo>
                    <a:pt x="16913" y="27185"/>
                    <a:pt x="17366" y="26216"/>
                    <a:pt x="18190" y="25618"/>
                  </a:cubicBezTo>
                  <a:cubicBezTo>
                    <a:pt x="19014" y="25037"/>
                    <a:pt x="20080" y="24908"/>
                    <a:pt x="21000" y="25312"/>
                  </a:cubicBezTo>
                  <a:lnTo>
                    <a:pt x="37849" y="32452"/>
                  </a:lnTo>
                  <a:cubicBezTo>
                    <a:pt x="38851" y="32872"/>
                    <a:pt x="39465" y="33066"/>
                    <a:pt x="39675" y="33001"/>
                  </a:cubicBezTo>
                  <a:cubicBezTo>
                    <a:pt x="39675" y="33001"/>
                    <a:pt x="39885" y="32888"/>
                    <a:pt x="40224" y="32387"/>
                  </a:cubicBezTo>
                  <a:cubicBezTo>
                    <a:pt x="42582" y="28785"/>
                    <a:pt x="40192" y="23389"/>
                    <a:pt x="36961" y="19900"/>
                  </a:cubicBezTo>
                  <a:cubicBezTo>
                    <a:pt x="35669" y="18511"/>
                    <a:pt x="34247" y="17218"/>
                    <a:pt x="32728" y="15845"/>
                  </a:cubicBezTo>
                  <a:cubicBezTo>
                    <a:pt x="29691" y="13099"/>
                    <a:pt x="26541" y="10256"/>
                    <a:pt x="24457" y="6411"/>
                  </a:cubicBezTo>
                  <a:cubicBezTo>
                    <a:pt x="24167" y="5862"/>
                    <a:pt x="23892" y="5297"/>
                    <a:pt x="23617" y="4731"/>
                  </a:cubicBezTo>
                  <a:cubicBezTo>
                    <a:pt x="23149" y="3762"/>
                    <a:pt x="22713" y="2857"/>
                    <a:pt x="22180" y="2162"/>
                  </a:cubicBezTo>
                  <a:cubicBezTo>
                    <a:pt x="19837" y="-842"/>
                    <a:pt x="14539" y="-487"/>
                    <a:pt x="11373" y="1823"/>
                  </a:cubicBezTo>
                  <a:cubicBezTo>
                    <a:pt x="7496" y="4650"/>
                    <a:pt x="1648" y="11694"/>
                    <a:pt x="0" y="16233"/>
                  </a:cubicBezTo>
                  <a:lnTo>
                    <a:pt x="8400" y="31402"/>
                  </a:lnTo>
                  <a:cubicBezTo>
                    <a:pt x="9628" y="33631"/>
                    <a:pt x="12051" y="37298"/>
                    <a:pt x="14313" y="3682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5" name="Free-form: Shape 294">
              <a:extLst>
                <a:ext uri="{FF2B5EF4-FFF2-40B4-BE49-F238E27FC236}">
                  <a16:creationId xmlns:a16="http://schemas.microsoft.com/office/drawing/2014/main" id="{01B7C94C-E743-E33A-E238-0954A4375016}"/>
                </a:ext>
              </a:extLst>
            </p:cNvPr>
            <p:cNvSpPr/>
            <p:nvPr/>
          </p:nvSpPr>
          <p:spPr>
            <a:xfrm>
              <a:off x="5093259" y="5783928"/>
              <a:ext cx="533023" cy="273830"/>
            </a:xfrm>
            <a:custGeom>
              <a:avLst/>
              <a:gdLst>
                <a:gd name="connsiteX0" fmla="*/ 526885 w 533023"/>
                <a:gd name="connsiteY0" fmla="*/ 120732 h 273830"/>
                <a:gd name="connsiteX1" fmla="*/ 519987 w 533023"/>
                <a:gd name="connsiteY1" fmla="*/ 107890 h 273830"/>
                <a:gd name="connsiteX2" fmla="*/ 521490 w 533023"/>
                <a:gd name="connsiteY2" fmla="*/ 96291 h 273830"/>
                <a:gd name="connsiteX3" fmla="*/ 522863 w 533023"/>
                <a:gd name="connsiteY3" fmla="*/ 87228 h 273830"/>
                <a:gd name="connsiteX4" fmla="*/ 517710 w 533023"/>
                <a:gd name="connsiteY4" fmla="*/ 77278 h 273830"/>
                <a:gd name="connsiteX5" fmla="*/ 494658 w 533023"/>
                <a:gd name="connsiteY5" fmla="*/ 45874 h 273830"/>
                <a:gd name="connsiteX6" fmla="*/ 484513 w 533023"/>
                <a:gd name="connsiteY6" fmla="*/ 35503 h 273830"/>
                <a:gd name="connsiteX7" fmla="*/ 469538 w 533023"/>
                <a:gd name="connsiteY7" fmla="*/ 32837 h 273830"/>
                <a:gd name="connsiteX8" fmla="*/ 463755 w 533023"/>
                <a:gd name="connsiteY8" fmla="*/ 32563 h 273830"/>
                <a:gd name="connsiteX9" fmla="*/ 436470 w 533023"/>
                <a:gd name="connsiteY9" fmla="*/ 25584 h 273830"/>
                <a:gd name="connsiteX10" fmla="*/ 403855 w 533023"/>
                <a:gd name="connsiteY10" fmla="*/ 19009 h 273830"/>
                <a:gd name="connsiteX11" fmla="*/ 394227 w 533023"/>
                <a:gd name="connsiteY11" fmla="*/ 20496 h 273830"/>
                <a:gd name="connsiteX12" fmla="*/ 366313 w 533023"/>
                <a:gd name="connsiteY12" fmla="*/ 17782 h 273830"/>
                <a:gd name="connsiteX13" fmla="*/ 359964 w 533023"/>
                <a:gd name="connsiteY13" fmla="*/ 10302 h 273830"/>
                <a:gd name="connsiteX14" fmla="*/ 356313 w 533023"/>
                <a:gd name="connsiteY14" fmla="*/ 5488 h 273830"/>
                <a:gd name="connsiteX15" fmla="*/ 341338 w 533023"/>
                <a:gd name="connsiteY15" fmla="*/ 884 h 273830"/>
                <a:gd name="connsiteX16" fmla="*/ 277658 w 533023"/>
                <a:gd name="connsiteY16" fmla="*/ 27458 h 273830"/>
                <a:gd name="connsiteX17" fmla="*/ 261439 w 533023"/>
                <a:gd name="connsiteY17" fmla="*/ 32256 h 273830"/>
                <a:gd name="connsiteX18" fmla="*/ 238920 w 533023"/>
                <a:gd name="connsiteY18" fmla="*/ 27603 h 273830"/>
                <a:gd name="connsiteX19" fmla="*/ 218695 w 533023"/>
                <a:gd name="connsiteY19" fmla="*/ 23307 h 273830"/>
                <a:gd name="connsiteX20" fmla="*/ 202687 w 533023"/>
                <a:gd name="connsiteY20" fmla="*/ 28766 h 273830"/>
                <a:gd name="connsiteX21" fmla="*/ 183528 w 533023"/>
                <a:gd name="connsiteY21" fmla="*/ 34808 h 273830"/>
                <a:gd name="connsiteX22" fmla="*/ 170927 w 533023"/>
                <a:gd name="connsiteY22" fmla="*/ 33274 h 273830"/>
                <a:gd name="connsiteX23" fmla="*/ 155678 w 533023"/>
                <a:gd name="connsiteY23" fmla="*/ 32644 h 273830"/>
                <a:gd name="connsiteX24" fmla="*/ 145323 w 533023"/>
                <a:gd name="connsiteY24" fmla="*/ 40010 h 273830"/>
                <a:gd name="connsiteX25" fmla="*/ 137698 w 533023"/>
                <a:gd name="connsiteY25" fmla="*/ 46326 h 273830"/>
                <a:gd name="connsiteX26" fmla="*/ 116698 w 533023"/>
                <a:gd name="connsiteY26" fmla="*/ 50106 h 273830"/>
                <a:gd name="connsiteX27" fmla="*/ 114468 w 533023"/>
                <a:gd name="connsiteY27" fmla="*/ 49557 h 273830"/>
                <a:gd name="connsiteX28" fmla="*/ 108750 w 533023"/>
                <a:gd name="connsiteY28" fmla="*/ 48862 h 273830"/>
                <a:gd name="connsiteX29" fmla="*/ 102870 w 533023"/>
                <a:gd name="connsiteY29" fmla="*/ 53176 h 273830"/>
                <a:gd name="connsiteX30" fmla="*/ 25879 w 533023"/>
                <a:gd name="connsiteY30" fmla="*/ 133753 h 273830"/>
                <a:gd name="connsiteX31" fmla="*/ 18189 w 533023"/>
                <a:gd name="connsiteY31" fmla="*/ 144641 h 273830"/>
                <a:gd name="connsiteX32" fmla="*/ 19627 w 533023"/>
                <a:gd name="connsiteY32" fmla="*/ 148938 h 273830"/>
                <a:gd name="connsiteX33" fmla="*/ 21840 w 533023"/>
                <a:gd name="connsiteY33" fmla="*/ 157338 h 273830"/>
                <a:gd name="connsiteX34" fmla="*/ 9288 w 533023"/>
                <a:gd name="connsiteY34" fmla="*/ 173153 h 273830"/>
                <a:gd name="connsiteX35" fmla="*/ 48 w 533023"/>
                <a:gd name="connsiteY35" fmla="*/ 186270 h 273830"/>
                <a:gd name="connsiteX36" fmla="*/ 22179 w 533023"/>
                <a:gd name="connsiteY36" fmla="*/ 216575 h 273830"/>
                <a:gd name="connsiteX37" fmla="*/ 28189 w 533023"/>
                <a:gd name="connsiteY37" fmla="*/ 219758 h 273830"/>
                <a:gd name="connsiteX38" fmla="*/ 46605 w 533023"/>
                <a:gd name="connsiteY38" fmla="*/ 233650 h 273830"/>
                <a:gd name="connsiteX39" fmla="*/ 52339 w 533023"/>
                <a:gd name="connsiteY39" fmla="*/ 251808 h 273830"/>
                <a:gd name="connsiteX40" fmla="*/ 59189 w 533023"/>
                <a:gd name="connsiteY40" fmla="*/ 269787 h 273830"/>
                <a:gd name="connsiteX41" fmla="*/ 81175 w 533023"/>
                <a:gd name="connsiteY41" fmla="*/ 270821 h 273830"/>
                <a:gd name="connsiteX42" fmla="*/ 96360 w 533023"/>
                <a:gd name="connsiteY42" fmla="*/ 250855 h 273830"/>
                <a:gd name="connsiteX43" fmla="*/ 97006 w 533023"/>
                <a:gd name="connsiteY43" fmla="*/ 249239 h 273830"/>
                <a:gd name="connsiteX44" fmla="*/ 103209 w 533023"/>
                <a:gd name="connsiteY44" fmla="*/ 238303 h 273830"/>
                <a:gd name="connsiteX45" fmla="*/ 138587 w 533023"/>
                <a:gd name="connsiteY45" fmla="*/ 242390 h 273830"/>
                <a:gd name="connsiteX46" fmla="*/ 144451 w 533023"/>
                <a:gd name="connsiteY46" fmla="*/ 247624 h 273830"/>
                <a:gd name="connsiteX47" fmla="*/ 165710 w 533023"/>
                <a:gd name="connsiteY47" fmla="*/ 260806 h 273830"/>
                <a:gd name="connsiteX48" fmla="*/ 178552 w 533023"/>
                <a:gd name="connsiteY48" fmla="*/ 259739 h 273830"/>
                <a:gd name="connsiteX49" fmla="*/ 187098 w 533023"/>
                <a:gd name="connsiteY49" fmla="*/ 258479 h 273830"/>
                <a:gd name="connsiteX50" fmla="*/ 208098 w 533023"/>
                <a:gd name="connsiteY50" fmla="*/ 270288 h 273830"/>
                <a:gd name="connsiteX51" fmla="*/ 208357 w 533023"/>
                <a:gd name="connsiteY51" fmla="*/ 271548 h 273830"/>
                <a:gd name="connsiteX52" fmla="*/ 208954 w 533023"/>
                <a:gd name="connsiteY52" fmla="*/ 273551 h 273830"/>
                <a:gd name="connsiteX53" fmla="*/ 212331 w 533023"/>
                <a:gd name="connsiteY53" fmla="*/ 269658 h 273830"/>
                <a:gd name="connsiteX54" fmla="*/ 213704 w 533023"/>
                <a:gd name="connsiteY54" fmla="*/ 267816 h 273830"/>
                <a:gd name="connsiteX55" fmla="*/ 225028 w 533023"/>
                <a:gd name="connsiteY55" fmla="*/ 262744 h 273830"/>
                <a:gd name="connsiteX56" fmla="*/ 232717 w 533023"/>
                <a:gd name="connsiteY56" fmla="*/ 264376 h 273830"/>
                <a:gd name="connsiteX57" fmla="*/ 244332 w 533023"/>
                <a:gd name="connsiteY57" fmla="*/ 273826 h 273830"/>
                <a:gd name="connsiteX58" fmla="*/ 277577 w 533023"/>
                <a:gd name="connsiteY58" fmla="*/ 265232 h 273830"/>
                <a:gd name="connsiteX59" fmla="*/ 280097 w 533023"/>
                <a:gd name="connsiteY59" fmla="*/ 265943 h 273830"/>
                <a:gd name="connsiteX60" fmla="*/ 286947 w 533023"/>
                <a:gd name="connsiteY60" fmla="*/ 267090 h 273830"/>
                <a:gd name="connsiteX61" fmla="*/ 294249 w 533023"/>
                <a:gd name="connsiteY61" fmla="*/ 263746 h 273830"/>
                <a:gd name="connsiteX62" fmla="*/ 304830 w 533023"/>
                <a:gd name="connsiteY62" fmla="*/ 259513 h 273830"/>
                <a:gd name="connsiteX63" fmla="*/ 315039 w 533023"/>
                <a:gd name="connsiteY63" fmla="*/ 262437 h 273830"/>
                <a:gd name="connsiteX64" fmla="*/ 322535 w 533023"/>
                <a:gd name="connsiteY64" fmla="*/ 264796 h 273830"/>
                <a:gd name="connsiteX65" fmla="*/ 331823 w 533023"/>
                <a:gd name="connsiteY65" fmla="*/ 259578 h 273830"/>
                <a:gd name="connsiteX66" fmla="*/ 333632 w 533023"/>
                <a:gd name="connsiteY66" fmla="*/ 258075 h 273830"/>
                <a:gd name="connsiteX67" fmla="*/ 384777 w 533023"/>
                <a:gd name="connsiteY67" fmla="*/ 250548 h 273830"/>
                <a:gd name="connsiteX68" fmla="*/ 387798 w 533023"/>
                <a:gd name="connsiteY68" fmla="*/ 251856 h 273830"/>
                <a:gd name="connsiteX69" fmla="*/ 397490 w 533023"/>
                <a:gd name="connsiteY69" fmla="*/ 254764 h 273830"/>
                <a:gd name="connsiteX70" fmla="*/ 413741 w 533023"/>
                <a:gd name="connsiteY70" fmla="*/ 243472 h 273830"/>
                <a:gd name="connsiteX71" fmla="*/ 431511 w 533023"/>
                <a:gd name="connsiteY71" fmla="*/ 229967 h 273830"/>
                <a:gd name="connsiteX72" fmla="*/ 451235 w 533023"/>
                <a:gd name="connsiteY72" fmla="*/ 233214 h 273830"/>
                <a:gd name="connsiteX73" fmla="*/ 465935 w 533023"/>
                <a:gd name="connsiteY73" fmla="*/ 236623 h 273830"/>
                <a:gd name="connsiteX74" fmla="*/ 488826 w 533023"/>
                <a:gd name="connsiteY74" fmla="*/ 215784 h 273830"/>
                <a:gd name="connsiteX75" fmla="*/ 526498 w 533023"/>
                <a:gd name="connsiteY75" fmla="*/ 150989 h 273830"/>
                <a:gd name="connsiteX76" fmla="*/ 532345 w 533023"/>
                <a:gd name="connsiteY76" fmla="*/ 129149 h 273830"/>
                <a:gd name="connsiteX77" fmla="*/ 526950 w 533023"/>
                <a:gd name="connsiteY77" fmla="*/ 120652 h 273830"/>
                <a:gd name="connsiteX78" fmla="*/ 526885 w 533023"/>
                <a:gd name="connsiteY78" fmla="*/ 120732 h 27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3023" h="273830">
                  <a:moveTo>
                    <a:pt x="526885" y="120732"/>
                  </a:moveTo>
                  <a:cubicBezTo>
                    <a:pt x="523864" y="116969"/>
                    <a:pt x="520747" y="113059"/>
                    <a:pt x="519987" y="107890"/>
                  </a:cubicBezTo>
                  <a:cubicBezTo>
                    <a:pt x="519390" y="103787"/>
                    <a:pt x="520456" y="99974"/>
                    <a:pt x="521490" y="96291"/>
                  </a:cubicBezTo>
                  <a:cubicBezTo>
                    <a:pt x="522394" y="93093"/>
                    <a:pt x="523234" y="90072"/>
                    <a:pt x="522863" y="87228"/>
                  </a:cubicBezTo>
                  <a:cubicBezTo>
                    <a:pt x="522394" y="83642"/>
                    <a:pt x="519907" y="80250"/>
                    <a:pt x="517710" y="77278"/>
                  </a:cubicBezTo>
                  <a:lnTo>
                    <a:pt x="494658" y="45874"/>
                  </a:lnTo>
                  <a:cubicBezTo>
                    <a:pt x="491863" y="42061"/>
                    <a:pt x="488697" y="37764"/>
                    <a:pt x="484513" y="35503"/>
                  </a:cubicBezTo>
                  <a:cubicBezTo>
                    <a:pt x="480200" y="33177"/>
                    <a:pt x="475030" y="33015"/>
                    <a:pt x="469538" y="32837"/>
                  </a:cubicBezTo>
                  <a:cubicBezTo>
                    <a:pt x="467599" y="32773"/>
                    <a:pt x="465661" y="32708"/>
                    <a:pt x="463755" y="32563"/>
                  </a:cubicBezTo>
                  <a:cubicBezTo>
                    <a:pt x="454304" y="31788"/>
                    <a:pt x="445242" y="28637"/>
                    <a:pt x="436470" y="25584"/>
                  </a:cubicBezTo>
                  <a:cubicBezTo>
                    <a:pt x="425340" y="21723"/>
                    <a:pt x="414840" y="18073"/>
                    <a:pt x="403855" y="19009"/>
                  </a:cubicBezTo>
                  <a:cubicBezTo>
                    <a:pt x="400769" y="19268"/>
                    <a:pt x="397587" y="19866"/>
                    <a:pt x="394227" y="20496"/>
                  </a:cubicBezTo>
                  <a:cubicBezTo>
                    <a:pt x="384454" y="22321"/>
                    <a:pt x="374357" y="24195"/>
                    <a:pt x="366313" y="17782"/>
                  </a:cubicBezTo>
                  <a:cubicBezTo>
                    <a:pt x="363631" y="15633"/>
                    <a:pt x="361757" y="12935"/>
                    <a:pt x="359964" y="10302"/>
                  </a:cubicBezTo>
                  <a:cubicBezTo>
                    <a:pt x="358768" y="8558"/>
                    <a:pt x="357638" y="6910"/>
                    <a:pt x="356313" y="5488"/>
                  </a:cubicBezTo>
                  <a:cubicBezTo>
                    <a:pt x="351289" y="109"/>
                    <a:pt x="347493" y="-1070"/>
                    <a:pt x="341338" y="884"/>
                  </a:cubicBezTo>
                  <a:lnTo>
                    <a:pt x="277658" y="27458"/>
                  </a:lnTo>
                  <a:cubicBezTo>
                    <a:pt x="272796" y="29477"/>
                    <a:pt x="267303" y="31788"/>
                    <a:pt x="261439" y="32256"/>
                  </a:cubicBezTo>
                  <a:cubicBezTo>
                    <a:pt x="253508" y="32886"/>
                    <a:pt x="246093" y="30204"/>
                    <a:pt x="238920" y="27603"/>
                  </a:cubicBezTo>
                  <a:cubicBezTo>
                    <a:pt x="231974" y="25083"/>
                    <a:pt x="225415" y="22709"/>
                    <a:pt x="218695" y="23307"/>
                  </a:cubicBezTo>
                  <a:cubicBezTo>
                    <a:pt x="213235" y="23791"/>
                    <a:pt x="208114" y="26198"/>
                    <a:pt x="202687" y="28766"/>
                  </a:cubicBezTo>
                  <a:cubicBezTo>
                    <a:pt x="196677" y="31593"/>
                    <a:pt x="190474" y="34517"/>
                    <a:pt x="183528" y="34808"/>
                  </a:cubicBezTo>
                  <a:cubicBezTo>
                    <a:pt x="179214" y="34986"/>
                    <a:pt x="174998" y="34114"/>
                    <a:pt x="170927" y="33274"/>
                  </a:cubicBezTo>
                  <a:cubicBezTo>
                    <a:pt x="165483" y="32159"/>
                    <a:pt x="160363" y="31093"/>
                    <a:pt x="155678" y="32644"/>
                  </a:cubicBezTo>
                  <a:cubicBezTo>
                    <a:pt x="151801" y="33920"/>
                    <a:pt x="148651" y="36892"/>
                    <a:pt x="145323" y="40010"/>
                  </a:cubicBezTo>
                  <a:cubicBezTo>
                    <a:pt x="142964" y="42223"/>
                    <a:pt x="140525" y="44517"/>
                    <a:pt x="137698" y="46326"/>
                  </a:cubicBezTo>
                  <a:cubicBezTo>
                    <a:pt x="131527" y="50300"/>
                    <a:pt x="123870" y="51673"/>
                    <a:pt x="116698" y="50106"/>
                  </a:cubicBezTo>
                  <a:cubicBezTo>
                    <a:pt x="115955" y="49945"/>
                    <a:pt x="115211" y="49751"/>
                    <a:pt x="114468" y="49557"/>
                  </a:cubicBezTo>
                  <a:cubicBezTo>
                    <a:pt x="112385" y="49008"/>
                    <a:pt x="110430" y="48507"/>
                    <a:pt x="108750" y="48862"/>
                  </a:cubicBezTo>
                  <a:cubicBezTo>
                    <a:pt x="106698" y="49298"/>
                    <a:pt x="104873" y="51076"/>
                    <a:pt x="102870" y="53176"/>
                  </a:cubicBezTo>
                  <a:lnTo>
                    <a:pt x="25879" y="133753"/>
                  </a:lnTo>
                  <a:cubicBezTo>
                    <a:pt x="22874" y="136903"/>
                    <a:pt x="19466" y="140473"/>
                    <a:pt x="18189" y="144641"/>
                  </a:cubicBezTo>
                  <a:cubicBezTo>
                    <a:pt x="17834" y="145787"/>
                    <a:pt x="18512" y="147015"/>
                    <a:pt x="19627" y="148938"/>
                  </a:cubicBezTo>
                  <a:cubicBezTo>
                    <a:pt x="20919" y="151151"/>
                    <a:pt x="22535" y="153897"/>
                    <a:pt x="21840" y="157338"/>
                  </a:cubicBezTo>
                  <a:cubicBezTo>
                    <a:pt x="20338" y="164833"/>
                    <a:pt x="14474" y="169260"/>
                    <a:pt x="9288" y="173153"/>
                  </a:cubicBezTo>
                  <a:cubicBezTo>
                    <a:pt x="3214" y="177724"/>
                    <a:pt x="-469" y="180810"/>
                    <a:pt x="48" y="186270"/>
                  </a:cubicBezTo>
                  <a:cubicBezTo>
                    <a:pt x="1163" y="197949"/>
                    <a:pt x="9434" y="209274"/>
                    <a:pt x="22179" y="216575"/>
                  </a:cubicBezTo>
                  <a:cubicBezTo>
                    <a:pt x="24102" y="217674"/>
                    <a:pt x="26186" y="218740"/>
                    <a:pt x="28189" y="219758"/>
                  </a:cubicBezTo>
                  <a:cubicBezTo>
                    <a:pt x="35070" y="223263"/>
                    <a:pt x="42178" y="226898"/>
                    <a:pt x="46605" y="233650"/>
                  </a:cubicBezTo>
                  <a:cubicBezTo>
                    <a:pt x="50191" y="239110"/>
                    <a:pt x="51289" y="245572"/>
                    <a:pt x="52339" y="251808"/>
                  </a:cubicBezTo>
                  <a:cubicBezTo>
                    <a:pt x="53535" y="258835"/>
                    <a:pt x="54666" y="265458"/>
                    <a:pt x="59189" y="269787"/>
                  </a:cubicBezTo>
                  <a:cubicBezTo>
                    <a:pt x="65117" y="275457"/>
                    <a:pt x="74939" y="274553"/>
                    <a:pt x="81175" y="270821"/>
                  </a:cubicBezTo>
                  <a:cubicBezTo>
                    <a:pt x="87378" y="267122"/>
                    <a:pt x="92483" y="260402"/>
                    <a:pt x="96360" y="250855"/>
                  </a:cubicBezTo>
                  <a:lnTo>
                    <a:pt x="97006" y="249239"/>
                  </a:lnTo>
                  <a:cubicBezTo>
                    <a:pt x="98524" y="245411"/>
                    <a:pt x="100091" y="241437"/>
                    <a:pt x="103209" y="238303"/>
                  </a:cubicBezTo>
                  <a:cubicBezTo>
                    <a:pt x="112352" y="229127"/>
                    <a:pt x="127925" y="233408"/>
                    <a:pt x="138587" y="242390"/>
                  </a:cubicBezTo>
                  <a:cubicBezTo>
                    <a:pt x="140574" y="244070"/>
                    <a:pt x="142544" y="245879"/>
                    <a:pt x="144451" y="247624"/>
                  </a:cubicBezTo>
                  <a:cubicBezTo>
                    <a:pt x="151203" y="253843"/>
                    <a:pt x="157584" y="259723"/>
                    <a:pt x="165710" y="260806"/>
                  </a:cubicBezTo>
                  <a:cubicBezTo>
                    <a:pt x="169845" y="261355"/>
                    <a:pt x="174077" y="260579"/>
                    <a:pt x="178552" y="259739"/>
                  </a:cubicBezTo>
                  <a:cubicBezTo>
                    <a:pt x="181315" y="259223"/>
                    <a:pt x="184190" y="258689"/>
                    <a:pt x="187098" y="258479"/>
                  </a:cubicBezTo>
                  <a:cubicBezTo>
                    <a:pt x="195934" y="257866"/>
                    <a:pt x="205998" y="261694"/>
                    <a:pt x="208098" y="270288"/>
                  </a:cubicBezTo>
                  <a:cubicBezTo>
                    <a:pt x="208195" y="270692"/>
                    <a:pt x="208276" y="271128"/>
                    <a:pt x="208357" y="271548"/>
                  </a:cubicBezTo>
                  <a:cubicBezTo>
                    <a:pt x="208470" y="272146"/>
                    <a:pt x="208712" y="273373"/>
                    <a:pt x="208954" y="273551"/>
                  </a:cubicBezTo>
                  <a:cubicBezTo>
                    <a:pt x="209649" y="273373"/>
                    <a:pt x="211458" y="270870"/>
                    <a:pt x="212331" y="269658"/>
                  </a:cubicBezTo>
                  <a:cubicBezTo>
                    <a:pt x="212799" y="269012"/>
                    <a:pt x="213251" y="268382"/>
                    <a:pt x="213704" y="267816"/>
                  </a:cubicBezTo>
                  <a:cubicBezTo>
                    <a:pt x="216515" y="264246"/>
                    <a:pt x="220779" y="262744"/>
                    <a:pt x="225028" y="262744"/>
                  </a:cubicBezTo>
                  <a:cubicBezTo>
                    <a:pt x="227709" y="262744"/>
                    <a:pt x="230391" y="263342"/>
                    <a:pt x="232717" y="264376"/>
                  </a:cubicBezTo>
                  <a:cubicBezTo>
                    <a:pt x="237499" y="266540"/>
                    <a:pt x="241150" y="270191"/>
                    <a:pt x="244332" y="273826"/>
                  </a:cubicBezTo>
                  <a:cubicBezTo>
                    <a:pt x="253071" y="265749"/>
                    <a:pt x="266011" y="262308"/>
                    <a:pt x="277577" y="265232"/>
                  </a:cubicBezTo>
                  <a:cubicBezTo>
                    <a:pt x="278417" y="265442"/>
                    <a:pt x="279257" y="265684"/>
                    <a:pt x="280097" y="265943"/>
                  </a:cubicBezTo>
                  <a:cubicBezTo>
                    <a:pt x="282521" y="266653"/>
                    <a:pt x="284831" y="267332"/>
                    <a:pt x="286947" y="267090"/>
                  </a:cubicBezTo>
                  <a:cubicBezTo>
                    <a:pt x="289386" y="266815"/>
                    <a:pt x="291745" y="265329"/>
                    <a:pt x="294249" y="263746"/>
                  </a:cubicBezTo>
                  <a:cubicBezTo>
                    <a:pt x="297269" y="261839"/>
                    <a:pt x="300694" y="259675"/>
                    <a:pt x="304830" y="259513"/>
                  </a:cubicBezTo>
                  <a:cubicBezTo>
                    <a:pt x="308674" y="259352"/>
                    <a:pt x="312051" y="260999"/>
                    <a:pt x="315039" y="262437"/>
                  </a:cubicBezTo>
                  <a:cubicBezTo>
                    <a:pt x="317656" y="263697"/>
                    <a:pt x="320144" y="264909"/>
                    <a:pt x="322535" y="264796"/>
                  </a:cubicBezTo>
                  <a:cubicBezTo>
                    <a:pt x="325798" y="264666"/>
                    <a:pt x="328722" y="262195"/>
                    <a:pt x="331823" y="259578"/>
                  </a:cubicBezTo>
                  <a:cubicBezTo>
                    <a:pt x="332437" y="259061"/>
                    <a:pt x="333035" y="258560"/>
                    <a:pt x="333632" y="258075"/>
                  </a:cubicBezTo>
                  <a:cubicBezTo>
                    <a:pt x="347590" y="246735"/>
                    <a:pt x="368138" y="243714"/>
                    <a:pt x="384777" y="250548"/>
                  </a:cubicBezTo>
                  <a:cubicBezTo>
                    <a:pt x="385778" y="250968"/>
                    <a:pt x="386780" y="251404"/>
                    <a:pt x="387798" y="251856"/>
                  </a:cubicBezTo>
                  <a:cubicBezTo>
                    <a:pt x="391142" y="253342"/>
                    <a:pt x="394292" y="254764"/>
                    <a:pt x="397490" y="254764"/>
                  </a:cubicBezTo>
                  <a:cubicBezTo>
                    <a:pt x="403936" y="254764"/>
                    <a:pt x="408701" y="249271"/>
                    <a:pt x="413741" y="243472"/>
                  </a:cubicBezTo>
                  <a:cubicBezTo>
                    <a:pt x="418749" y="237705"/>
                    <a:pt x="423918" y="231744"/>
                    <a:pt x="431511" y="229967"/>
                  </a:cubicBezTo>
                  <a:cubicBezTo>
                    <a:pt x="438457" y="228336"/>
                    <a:pt x="444951" y="230823"/>
                    <a:pt x="451235" y="233214"/>
                  </a:cubicBezTo>
                  <a:cubicBezTo>
                    <a:pt x="456324" y="235153"/>
                    <a:pt x="461138" y="236994"/>
                    <a:pt x="465935" y="236623"/>
                  </a:cubicBezTo>
                  <a:cubicBezTo>
                    <a:pt x="475838" y="235863"/>
                    <a:pt x="482784" y="226155"/>
                    <a:pt x="488826" y="215784"/>
                  </a:cubicBezTo>
                  <a:lnTo>
                    <a:pt x="526498" y="150989"/>
                  </a:lnTo>
                  <a:cubicBezTo>
                    <a:pt x="530714" y="143736"/>
                    <a:pt x="534639" y="136095"/>
                    <a:pt x="532345" y="129149"/>
                  </a:cubicBezTo>
                  <a:cubicBezTo>
                    <a:pt x="531344" y="126144"/>
                    <a:pt x="529211" y="123479"/>
                    <a:pt x="526950" y="120652"/>
                  </a:cubicBezTo>
                  <a:lnTo>
                    <a:pt x="526885" y="12073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6" name="Free-form: Shape 295">
              <a:extLst>
                <a:ext uri="{FF2B5EF4-FFF2-40B4-BE49-F238E27FC236}">
                  <a16:creationId xmlns:a16="http://schemas.microsoft.com/office/drawing/2014/main" id="{3E189DEB-15BE-1C91-443B-8ACC19ED2D0C}"/>
                </a:ext>
              </a:extLst>
            </p:cNvPr>
            <p:cNvSpPr/>
            <p:nvPr/>
          </p:nvSpPr>
          <p:spPr>
            <a:xfrm>
              <a:off x="5480701" y="5228866"/>
              <a:ext cx="24102" cy="23303"/>
            </a:xfrm>
            <a:custGeom>
              <a:avLst/>
              <a:gdLst>
                <a:gd name="connsiteX0" fmla="*/ 17608 w 24102"/>
                <a:gd name="connsiteY0" fmla="*/ 10016 h 23303"/>
                <a:gd name="connsiteX1" fmla="*/ 12923 w 24102"/>
                <a:gd name="connsiteY1" fmla="*/ 5266 h 23303"/>
                <a:gd name="connsiteX2" fmla="*/ 6672 w 24102"/>
                <a:gd name="connsiteY2" fmla="*/ 0 h 23303"/>
                <a:gd name="connsiteX3" fmla="*/ 6365 w 24102"/>
                <a:gd name="connsiteY3" fmla="*/ 49 h 23303"/>
                <a:gd name="connsiteX4" fmla="*/ 48 w 24102"/>
                <a:gd name="connsiteY4" fmla="*/ 9175 h 23303"/>
                <a:gd name="connsiteX5" fmla="*/ 194 w 24102"/>
                <a:gd name="connsiteY5" fmla="*/ 11195 h 23303"/>
                <a:gd name="connsiteX6" fmla="*/ 1842 w 24102"/>
                <a:gd name="connsiteY6" fmla="*/ 12778 h 23303"/>
                <a:gd name="connsiteX7" fmla="*/ 15217 w 24102"/>
                <a:gd name="connsiteY7" fmla="*/ 21404 h 23303"/>
                <a:gd name="connsiteX8" fmla="*/ 22228 w 24102"/>
                <a:gd name="connsiteY8" fmla="*/ 23004 h 23303"/>
                <a:gd name="connsiteX9" fmla="*/ 23747 w 24102"/>
                <a:gd name="connsiteY9" fmla="*/ 17059 h 23303"/>
                <a:gd name="connsiteX10" fmla="*/ 17624 w 24102"/>
                <a:gd name="connsiteY10" fmla="*/ 10032 h 23303"/>
                <a:gd name="connsiteX11" fmla="*/ 17608 w 24102"/>
                <a:gd name="connsiteY11" fmla="*/ 10016 h 2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02" h="23303">
                  <a:moveTo>
                    <a:pt x="17608" y="10016"/>
                  </a:moveTo>
                  <a:cubicBezTo>
                    <a:pt x="15976" y="8707"/>
                    <a:pt x="14426" y="6963"/>
                    <a:pt x="12923" y="5266"/>
                  </a:cubicBezTo>
                  <a:cubicBezTo>
                    <a:pt x="10920" y="3021"/>
                    <a:pt x="8239" y="0"/>
                    <a:pt x="6672" y="0"/>
                  </a:cubicBezTo>
                  <a:cubicBezTo>
                    <a:pt x="6559" y="0"/>
                    <a:pt x="6462" y="0"/>
                    <a:pt x="6365" y="49"/>
                  </a:cubicBezTo>
                  <a:cubicBezTo>
                    <a:pt x="2520" y="1276"/>
                    <a:pt x="388" y="5638"/>
                    <a:pt x="48" y="9175"/>
                  </a:cubicBezTo>
                  <a:cubicBezTo>
                    <a:pt x="-48" y="10145"/>
                    <a:pt x="0" y="10791"/>
                    <a:pt x="194" y="11195"/>
                  </a:cubicBezTo>
                  <a:cubicBezTo>
                    <a:pt x="436" y="11696"/>
                    <a:pt x="1115" y="12229"/>
                    <a:pt x="1842" y="12778"/>
                  </a:cubicBezTo>
                  <a:cubicBezTo>
                    <a:pt x="6074" y="15976"/>
                    <a:pt x="10581" y="18868"/>
                    <a:pt x="15217" y="21404"/>
                  </a:cubicBezTo>
                  <a:cubicBezTo>
                    <a:pt x="17301" y="22535"/>
                    <a:pt x="20290" y="23924"/>
                    <a:pt x="22228" y="23004"/>
                  </a:cubicBezTo>
                  <a:cubicBezTo>
                    <a:pt x="24037" y="22131"/>
                    <a:pt x="24522" y="19142"/>
                    <a:pt x="23747" y="17059"/>
                  </a:cubicBezTo>
                  <a:cubicBezTo>
                    <a:pt x="22713" y="14280"/>
                    <a:pt x="20144" y="12067"/>
                    <a:pt x="17624" y="10032"/>
                  </a:cubicBezTo>
                  <a:lnTo>
                    <a:pt x="17608" y="100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7" name="Free-form: Shape 296">
              <a:extLst>
                <a:ext uri="{FF2B5EF4-FFF2-40B4-BE49-F238E27FC236}">
                  <a16:creationId xmlns:a16="http://schemas.microsoft.com/office/drawing/2014/main" id="{73D624E9-2210-DFE4-84EA-005B6F8D14FB}"/>
                </a:ext>
              </a:extLst>
            </p:cNvPr>
            <p:cNvSpPr/>
            <p:nvPr/>
          </p:nvSpPr>
          <p:spPr>
            <a:xfrm>
              <a:off x="5403281" y="2732380"/>
              <a:ext cx="24040" cy="23514"/>
            </a:xfrm>
            <a:custGeom>
              <a:avLst/>
              <a:gdLst>
                <a:gd name="connsiteX0" fmla="*/ 2255 w 24040"/>
                <a:gd name="connsiteY0" fmla="*/ 21566 h 23514"/>
                <a:gd name="connsiteX1" fmla="*/ 17763 w 24040"/>
                <a:gd name="connsiteY1" fmla="*/ 21647 h 23514"/>
                <a:gd name="connsiteX2" fmla="*/ 23756 w 24040"/>
                <a:gd name="connsiteY2" fmla="*/ 8723 h 23514"/>
                <a:gd name="connsiteX3" fmla="*/ 16616 w 24040"/>
                <a:gd name="connsiteY3" fmla="*/ 226 h 23514"/>
                <a:gd name="connsiteX4" fmla="*/ 15097 w 24040"/>
                <a:gd name="connsiteY4" fmla="*/ 0 h 23514"/>
                <a:gd name="connsiteX5" fmla="*/ 10348 w 24040"/>
                <a:gd name="connsiteY5" fmla="*/ 2197 h 23514"/>
                <a:gd name="connsiteX6" fmla="*/ 10316 w 24040"/>
                <a:gd name="connsiteY6" fmla="*/ 2229 h 23514"/>
                <a:gd name="connsiteX7" fmla="*/ 8264 w 24040"/>
                <a:gd name="connsiteY7" fmla="*/ 5783 h 23514"/>
                <a:gd name="connsiteX8" fmla="*/ 6810 w 24040"/>
                <a:gd name="connsiteY8" fmla="*/ 8820 h 23514"/>
                <a:gd name="connsiteX9" fmla="*/ 3418 w 24040"/>
                <a:gd name="connsiteY9" fmla="*/ 13101 h 23514"/>
                <a:gd name="connsiteX10" fmla="*/ 1302 w 24040"/>
                <a:gd name="connsiteY10" fmla="*/ 15557 h 23514"/>
                <a:gd name="connsiteX11" fmla="*/ 300 w 24040"/>
                <a:gd name="connsiteY11" fmla="*/ 20128 h 23514"/>
                <a:gd name="connsiteX12" fmla="*/ 2239 w 24040"/>
                <a:gd name="connsiteY12" fmla="*/ 21582 h 23514"/>
                <a:gd name="connsiteX13" fmla="*/ 2255 w 24040"/>
                <a:gd name="connsiteY13" fmla="*/ 21566 h 2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40" h="23514">
                  <a:moveTo>
                    <a:pt x="2255" y="21566"/>
                  </a:moveTo>
                  <a:cubicBezTo>
                    <a:pt x="7279" y="24134"/>
                    <a:pt x="13369" y="24167"/>
                    <a:pt x="17763" y="21647"/>
                  </a:cubicBezTo>
                  <a:cubicBezTo>
                    <a:pt x="22351" y="18997"/>
                    <a:pt x="24935" y="13440"/>
                    <a:pt x="23756" y="8723"/>
                  </a:cubicBezTo>
                  <a:cubicBezTo>
                    <a:pt x="22932" y="5428"/>
                    <a:pt x="19976" y="1260"/>
                    <a:pt x="16616" y="226"/>
                  </a:cubicBezTo>
                  <a:cubicBezTo>
                    <a:pt x="16115" y="65"/>
                    <a:pt x="15598" y="0"/>
                    <a:pt x="15097" y="0"/>
                  </a:cubicBezTo>
                  <a:cubicBezTo>
                    <a:pt x="13547" y="0"/>
                    <a:pt x="11980" y="727"/>
                    <a:pt x="10348" y="2197"/>
                  </a:cubicBezTo>
                  <a:cubicBezTo>
                    <a:pt x="10348" y="2197"/>
                    <a:pt x="10332" y="2213"/>
                    <a:pt x="10316" y="2229"/>
                  </a:cubicBezTo>
                  <a:cubicBezTo>
                    <a:pt x="9443" y="2989"/>
                    <a:pt x="8894" y="4281"/>
                    <a:pt x="8264" y="5783"/>
                  </a:cubicBezTo>
                  <a:cubicBezTo>
                    <a:pt x="7844" y="6785"/>
                    <a:pt x="7408" y="7803"/>
                    <a:pt x="6810" y="8820"/>
                  </a:cubicBezTo>
                  <a:cubicBezTo>
                    <a:pt x="5841" y="10484"/>
                    <a:pt x="4613" y="11825"/>
                    <a:pt x="3418" y="13101"/>
                  </a:cubicBezTo>
                  <a:cubicBezTo>
                    <a:pt x="2643" y="13941"/>
                    <a:pt x="1916" y="14733"/>
                    <a:pt x="1302" y="15557"/>
                  </a:cubicBezTo>
                  <a:cubicBezTo>
                    <a:pt x="268" y="16994"/>
                    <a:pt x="-427" y="19014"/>
                    <a:pt x="300" y="20128"/>
                  </a:cubicBezTo>
                  <a:cubicBezTo>
                    <a:pt x="688" y="20742"/>
                    <a:pt x="1593" y="21243"/>
                    <a:pt x="2239" y="21582"/>
                  </a:cubicBezTo>
                  <a:lnTo>
                    <a:pt x="2255" y="215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8" name="Free-form: Shape 297">
              <a:extLst>
                <a:ext uri="{FF2B5EF4-FFF2-40B4-BE49-F238E27FC236}">
                  <a16:creationId xmlns:a16="http://schemas.microsoft.com/office/drawing/2014/main" id="{3B50AF9C-FD8A-E3F8-7A63-404AF4B662E9}"/>
                </a:ext>
              </a:extLst>
            </p:cNvPr>
            <p:cNvSpPr/>
            <p:nvPr/>
          </p:nvSpPr>
          <p:spPr>
            <a:xfrm>
              <a:off x="5159726" y="4552586"/>
              <a:ext cx="27774" cy="34635"/>
            </a:xfrm>
            <a:custGeom>
              <a:avLst/>
              <a:gdLst>
                <a:gd name="connsiteX0" fmla="*/ 21073 w 27774"/>
                <a:gd name="connsiteY0" fmla="*/ 16025 h 34635"/>
                <a:gd name="connsiteX1" fmla="*/ 23156 w 27774"/>
                <a:gd name="connsiteY1" fmla="*/ 13909 h 34635"/>
                <a:gd name="connsiteX2" fmla="*/ 27728 w 27774"/>
                <a:gd name="connsiteY2" fmla="*/ 7786 h 34635"/>
                <a:gd name="connsiteX3" fmla="*/ 24869 w 27774"/>
                <a:gd name="connsiteY3" fmla="*/ 1502 h 34635"/>
                <a:gd name="connsiteX4" fmla="*/ 21105 w 27774"/>
                <a:gd name="connsiteY4" fmla="*/ 0 h 34635"/>
                <a:gd name="connsiteX5" fmla="*/ 18019 w 27774"/>
                <a:gd name="connsiteY5" fmla="*/ 711 h 34635"/>
                <a:gd name="connsiteX6" fmla="*/ 17906 w 27774"/>
                <a:gd name="connsiteY6" fmla="*/ 759 h 34635"/>
                <a:gd name="connsiteX7" fmla="*/ 10039 w 27774"/>
                <a:gd name="connsiteY7" fmla="*/ 10242 h 34635"/>
                <a:gd name="connsiteX8" fmla="*/ 1752 w 27774"/>
                <a:gd name="connsiteY8" fmla="*/ 26654 h 34635"/>
                <a:gd name="connsiteX9" fmla="*/ 589 w 27774"/>
                <a:gd name="connsiteY9" fmla="*/ 33988 h 34635"/>
                <a:gd name="connsiteX10" fmla="*/ 5661 w 27774"/>
                <a:gd name="connsiteY10" fmla="*/ 33827 h 34635"/>
                <a:gd name="connsiteX11" fmla="*/ 15435 w 27774"/>
                <a:gd name="connsiteY11" fmla="*/ 23440 h 34635"/>
                <a:gd name="connsiteX12" fmla="*/ 21073 w 27774"/>
                <a:gd name="connsiteY12" fmla="*/ 16009 h 34635"/>
                <a:gd name="connsiteX13" fmla="*/ 21073 w 27774"/>
                <a:gd name="connsiteY13" fmla="*/ 16025 h 3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774" h="34635">
                  <a:moveTo>
                    <a:pt x="21073" y="16025"/>
                  </a:moveTo>
                  <a:cubicBezTo>
                    <a:pt x="21735" y="15314"/>
                    <a:pt x="22446" y="14603"/>
                    <a:pt x="23156" y="13909"/>
                  </a:cubicBezTo>
                  <a:cubicBezTo>
                    <a:pt x="25176" y="11906"/>
                    <a:pt x="27098" y="10016"/>
                    <a:pt x="27728" y="7786"/>
                  </a:cubicBezTo>
                  <a:cubicBezTo>
                    <a:pt x="27987" y="6866"/>
                    <a:pt x="27179" y="3554"/>
                    <a:pt x="24869" y="1502"/>
                  </a:cubicBezTo>
                  <a:cubicBezTo>
                    <a:pt x="23738" y="501"/>
                    <a:pt x="22494" y="0"/>
                    <a:pt x="21105" y="0"/>
                  </a:cubicBezTo>
                  <a:cubicBezTo>
                    <a:pt x="20152" y="0"/>
                    <a:pt x="19118" y="242"/>
                    <a:pt x="18019" y="711"/>
                  </a:cubicBezTo>
                  <a:cubicBezTo>
                    <a:pt x="17987" y="727"/>
                    <a:pt x="17939" y="743"/>
                    <a:pt x="17906" y="759"/>
                  </a:cubicBezTo>
                  <a:cubicBezTo>
                    <a:pt x="14385" y="2084"/>
                    <a:pt x="12188" y="5993"/>
                    <a:pt x="10039" y="10242"/>
                  </a:cubicBezTo>
                  <a:lnTo>
                    <a:pt x="1752" y="26654"/>
                  </a:lnTo>
                  <a:cubicBezTo>
                    <a:pt x="702" y="28738"/>
                    <a:pt x="-865" y="32486"/>
                    <a:pt x="589" y="33988"/>
                  </a:cubicBezTo>
                  <a:cubicBezTo>
                    <a:pt x="1607" y="35038"/>
                    <a:pt x="3949" y="34683"/>
                    <a:pt x="5661" y="33827"/>
                  </a:cubicBezTo>
                  <a:cubicBezTo>
                    <a:pt x="9765" y="31759"/>
                    <a:pt x="12511" y="27720"/>
                    <a:pt x="15435" y="23440"/>
                  </a:cubicBezTo>
                  <a:cubicBezTo>
                    <a:pt x="17147" y="20920"/>
                    <a:pt x="18924" y="18319"/>
                    <a:pt x="21073" y="16009"/>
                  </a:cubicBezTo>
                  <a:lnTo>
                    <a:pt x="21073" y="1602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9" name="Free-form: Shape 298">
              <a:extLst>
                <a:ext uri="{FF2B5EF4-FFF2-40B4-BE49-F238E27FC236}">
                  <a16:creationId xmlns:a16="http://schemas.microsoft.com/office/drawing/2014/main" id="{5DDC70C7-AD9B-C944-8A4D-D9E91B7E68AA}"/>
                </a:ext>
              </a:extLst>
            </p:cNvPr>
            <p:cNvSpPr/>
            <p:nvPr/>
          </p:nvSpPr>
          <p:spPr>
            <a:xfrm>
              <a:off x="5342889" y="2199239"/>
              <a:ext cx="13072" cy="22718"/>
            </a:xfrm>
            <a:custGeom>
              <a:avLst/>
              <a:gdLst>
                <a:gd name="connsiteX0" fmla="*/ 7367 w 13072"/>
                <a:gd name="connsiteY0" fmla="*/ 21598 h 22718"/>
                <a:gd name="connsiteX1" fmla="*/ 10243 w 13072"/>
                <a:gd name="connsiteY1" fmla="*/ 22664 h 22718"/>
                <a:gd name="connsiteX2" fmla="*/ 11422 w 13072"/>
                <a:gd name="connsiteY2" fmla="*/ 21340 h 22718"/>
                <a:gd name="connsiteX3" fmla="*/ 9435 w 13072"/>
                <a:gd name="connsiteY3" fmla="*/ 6284 h 22718"/>
                <a:gd name="connsiteX4" fmla="*/ 6818 w 13072"/>
                <a:gd name="connsiteY4" fmla="*/ 1292 h 22718"/>
                <a:gd name="connsiteX5" fmla="*/ 6350 w 13072"/>
                <a:gd name="connsiteY5" fmla="*/ 0 h 22718"/>
                <a:gd name="connsiteX6" fmla="*/ 2828 w 13072"/>
                <a:gd name="connsiteY6" fmla="*/ 1098 h 22718"/>
                <a:gd name="connsiteX7" fmla="*/ 728 w 13072"/>
                <a:gd name="connsiteY7" fmla="*/ 1728 h 22718"/>
                <a:gd name="connsiteX8" fmla="*/ 7367 w 13072"/>
                <a:gd name="connsiteY8" fmla="*/ 21582 h 22718"/>
                <a:gd name="connsiteX9" fmla="*/ 7367 w 13072"/>
                <a:gd name="connsiteY9" fmla="*/ 21598 h 2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72" h="22718">
                  <a:moveTo>
                    <a:pt x="7367" y="21598"/>
                  </a:moveTo>
                  <a:cubicBezTo>
                    <a:pt x="8579" y="22471"/>
                    <a:pt x="9710" y="22874"/>
                    <a:pt x="10243" y="22664"/>
                  </a:cubicBezTo>
                  <a:cubicBezTo>
                    <a:pt x="10437" y="22584"/>
                    <a:pt x="10840" y="22309"/>
                    <a:pt x="11422" y="21340"/>
                  </a:cubicBezTo>
                  <a:cubicBezTo>
                    <a:pt x="14233" y="16671"/>
                    <a:pt x="13377" y="10064"/>
                    <a:pt x="9435" y="6284"/>
                  </a:cubicBezTo>
                  <a:cubicBezTo>
                    <a:pt x="8094" y="5008"/>
                    <a:pt x="7448" y="3118"/>
                    <a:pt x="6818" y="1292"/>
                  </a:cubicBezTo>
                  <a:cubicBezTo>
                    <a:pt x="6689" y="905"/>
                    <a:pt x="6511" y="420"/>
                    <a:pt x="6350" y="0"/>
                  </a:cubicBezTo>
                  <a:cubicBezTo>
                    <a:pt x="5332" y="372"/>
                    <a:pt x="4104" y="727"/>
                    <a:pt x="2828" y="1098"/>
                  </a:cubicBezTo>
                  <a:cubicBezTo>
                    <a:pt x="2198" y="1292"/>
                    <a:pt x="1406" y="1518"/>
                    <a:pt x="728" y="1728"/>
                  </a:cubicBezTo>
                  <a:cubicBezTo>
                    <a:pt x="-1437" y="8804"/>
                    <a:pt x="1358" y="17253"/>
                    <a:pt x="7367" y="21582"/>
                  </a:cubicBezTo>
                  <a:lnTo>
                    <a:pt x="7367" y="215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0" name="Free-form: Shape 299">
              <a:extLst>
                <a:ext uri="{FF2B5EF4-FFF2-40B4-BE49-F238E27FC236}">
                  <a16:creationId xmlns:a16="http://schemas.microsoft.com/office/drawing/2014/main" id="{860E183C-E0E7-8A95-2188-55AC29EC88E6}"/>
                </a:ext>
              </a:extLst>
            </p:cNvPr>
            <p:cNvSpPr/>
            <p:nvPr/>
          </p:nvSpPr>
          <p:spPr>
            <a:xfrm>
              <a:off x="5472139" y="5089920"/>
              <a:ext cx="82947" cy="94931"/>
            </a:xfrm>
            <a:custGeom>
              <a:avLst/>
              <a:gdLst>
                <a:gd name="connsiteX0" fmla="*/ 47462 w 82947"/>
                <a:gd name="connsiteY0" fmla="*/ 9712 h 94931"/>
                <a:gd name="connsiteX1" fmla="*/ 44441 w 82947"/>
                <a:gd name="connsiteY1" fmla="*/ 3379 h 94931"/>
                <a:gd name="connsiteX2" fmla="*/ 35783 w 82947"/>
                <a:gd name="connsiteY2" fmla="*/ 35 h 94931"/>
                <a:gd name="connsiteX3" fmla="*/ 15703 w 82947"/>
                <a:gd name="connsiteY3" fmla="*/ 4284 h 94931"/>
                <a:gd name="connsiteX4" fmla="*/ 4169 w 82947"/>
                <a:gd name="connsiteY4" fmla="*/ 10148 h 94931"/>
                <a:gd name="connsiteX5" fmla="*/ 163 w 82947"/>
                <a:gd name="connsiteY5" fmla="*/ 19857 h 94931"/>
                <a:gd name="connsiteX6" fmla="*/ 4944 w 82947"/>
                <a:gd name="connsiteY6" fmla="*/ 27239 h 94931"/>
                <a:gd name="connsiteX7" fmla="*/ 11148 w 82947"/>
                <a:gd name="connsiteY7" fmla="*/ 38127 h 94931"/>
                <a:gd name="connsiteX8" fmla="*/ 9209 w 82947"/>
                <a:gd name="connsiteY8" fmla="*/ 48789 h 94931"/>
                <a:gd name="connsiteX9" fmla="*/ 8224 w 82947"/>
                <a:gd name="connsiteY9" fmla="*/ 57706 h 94931"/>
                <a:gd name="connsiteX10" fmla="*/ 15768 w 82947"/>
                <a:gd name="connsiteY10" fmla="*/ 61486 h 94931"/>
                <a:gd name="connsiteX11" fmla="*/ 20242 w 82947"/>
                <a:gd name="connsiteY11" fmla="*/ 62810 h 94931"/>
                <a:gd name="connsiteX12" fmla="*/ 33166 w 82947"/>
                <a:gd name="connsiteY12" fmla="*/ 77640 h 94931"/>
                <a:gd name="connsiteX13" fmla="*/ 39870 w 82947"/>
                <a:gd name="connsiteY13" fmla="*/ 91614 h 94931"/>
                <a:gd name="connsiteX14" fmla="*/ 41194 w 82947"/>
                <a:gd name="connsiteY14" fmla="*/ 93714 h 94931"/>
                <a:gd name="connsiteX15" fmla="*/ 44344 w 82947"/>
                <a:gd name="connsiteY15" fmla="*/ 94263 h 94931"/>
                <a:gd name="connsiteX16" fmla="*/ 44651 w 82947"/>
                <a:gd name="connsiteY16" fmla="*/ 94263 h 94931"/>
                <a:gd name="connsiteX17" fmla="*/ 70304 w 82947"/>
                <a:gd name="connsiteY17" fmla="*/ 94893 h 94931"/>
                <a:gd name="connsiteX18" fmla="*/ 79641 w 82947"/>
                <a:gd name="connsiteY18" fmla="*/ 93746 h 94931"/>
                <a:gd name="connsiteX19" fmla="*/ 82824 w 82947"/>
                <a:gd name="connsiteY19" fmla="*/ 88431 h 94931"/>
                <a:gd name="connsiteX20" fmla="*/ 77590 w 82947"/>
                <a:gd name="connsiteY20" fmla="*/ 84199 h 94931"/>
                <a:gd name="connsiteX21" fmla="*/ 69529 w 82947"/>
                <a:gd name="connsiteY21" fmla="*/ 76736 h 94931"/>
                <a:gd name="connsiteX22" fmla="*/ 72469 w 82947"/>
                <a:gd name="connsiteY22" fmla="*/ 64894 h 94931"/>
                <a:gd name="connsiteX23" fmla="*/ 75167 w 82947"/>
                <a:gd name="connsiteY23" fmla="*/ 59305 h 94931"/>
                <a:gd name="connsiteX24" fmla="*/ 68721 w 82947"/>
                <a:gd name="connsiteY24" fmla="*/ 46705 h 94931"/>
                <a:gd name="connsiteX25" fmla="*/ 68543 w 82947"/>
                <a:gd name="connsiteY25" fmla="*/ 46511 h 94931"/>
                <a:gd name="connsiteX26" fmla="*/ 47721 w 82947"/>
                <a:gd name="connsiteY26" fmla="*/ 10374 h 94931"/>
                <a:gd name="connsiteX27" fmla="*/ 47495 w 82947"/>
                <a:gd name="connsiteY27" fmla="*/ 9696 h 94931"/>
                <a:gd name="connsiteX28" fmla="*/ 47462 w 82947"/>
                <a:gd name="connsiteY28" fmla="*/ 9712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2947" h="94931">
                  <a:moveTo>
                    <a:pt x="47462" y="9712"/>
                  </a:moveTo>
                  <a:cubicBezTo>
                    <a:pt x="46638" y="7289"/>
                    <a:pt x="45863" y="4994"/>
                    <a:pt x="44441" y="3379"/>
                  </a:cubicBezTo>
                  <a:cubicBezTo>
                    <a:pt x="42212" y="875"/>
                    <a:pt x="38497" y="181"/>
                    <a:pt x="35783" y="35"/>
                  </a:cubicBezTo>
                  <a:cubicBezTo>
                    <a:pt x="29143" y="-304"/>
                    <a:pt x="22488" y="1844"/>
                    <a:pt x="15703" y="4284"/>
                  </a:cubicBezTo>
                  <a:cubicBezTo>
                    <a:pt x="11196" y="5899"/>
                    <a:pt x="7222" y="7466"/>
                    <a:pt x="4169" y="10148"/>
                  </a:cubicBezTo>
                  <a:cubicBezTo>
                    <a:pt x="1035" y="12894"/>
                    <a:pt x="-532" y="16706"/>
                    <a:pt x="163" y="19857"/>
                  </a:cubicBezTo>
                  <a:cubicBezTo>
                    <a:pt x="744" y="22473"/>
                    <a:pt x="2780" y="24800"/>
                    <a:pt x="4944" y="27239"/>
                  </a:cubicBezTo>
                  <a:cubicBezTo>
                    <a:pt x="7577" y="30211"/>
                    <a:pt x="10550" y="33588"/>
                    <a:pt x="11148" y="38127"/>
                  </a:cubicBezTo>
                  <a:cubicBezTo>
                    <a:pt x="11648" y="41907"/>
                    <a:pt x="10340" y="45558"/>
                    <a:pt x="9209" y="48789"/>
                  </a:cubicBezTo>
                  <a:cubicBezTo>
                    <a:pt x="7755" y="52908"/>
                    <a:pt x="6947" y="55557"/>
                    <a:pt x="8224" y="57706"/>
                  </a:cubicBezTo>
                  <a:cubicBezTo>
                    <a:pt x="9484" y="59854"/>
                    <a:pt x="12391" y="60598"/>
                    <a:pt x="15768" y="61486"/>
                  </a:cubicBezTo>
                  <a:cubicBezTo>
                    <a:pt x="17254" y="61874"/>
                    <a:pt x="18772" y="62261"/>
                    <a:pt x="20242" y="62810"/>
                  </a:cubicBezTo>
                  <a:cubicBezTo>
                    <a:pt x="26623" y="65201"/>
                    <a:pt x="31663" y="71001"/>
                    <a:pt x="33166" y="77640"/>
                  </a:cubicBezTo>
                  <a:lnTo>
                    <a:pt x="39870" y="91614"/>
                  </a:lnTo>
                  <a:cubicBezTo>
                    <a:pt x="40257" y="92421"/>
                    <a:pt x="40694" y="93342"/>
                    <a:pt x="41194" y="93714"/>
                  </a:cubicBezTo>
                  <a:cubicBezTo>
                    <a:pt x="41841" y="94198"/>
                    <a:pt x="43278" y="94231"/>
                    <a:pt x="44344" y="94263"/>
                  </a:cubicBezTo>
                  <a:lnTo>
                    <a:pt x="44651" y="94263"/>
                  </a:lnTo>
                  <a:lnTo>
                    <a:pt x="70304" y="94893"/>
                  </a:lnTo>
                  <a:cubicBezTo>
                    <a:pt x="73406" y="94974"/>
                    <a:pt x="76927" y="95054"/>
                    <a:pt x="79641" y="93746"/>
                  </a:cubicBezTo>
                  <a:cubicBezTo>
                    <a:pt x="81677" y="92760"/>
                    <a:pt x="83438" y="90386"/>
                    <a:pt x="82824" y="88431"/>
                  </a:cubicBezTo>
                  <a:cubicBezTo>
                    <a:pt x="82258" y="86654"/>
                    <a:pt x="80094" y="85523"/>
                    <a:pt x="77590" y="84199"/>
                  </a:cubicBezTo>
                  <a:cubicBezTo>
                    <a:pt x="74456" y="82551"/>
                    <a:pt x="70886" y="80693"/>
                    <a:pt x="69529" y="76736"/>
                  </a:cubicBezTo>
                  <a:cubicBezTo>
                    <a:pt x="67962" y="72164"/>
                    <a:pt x="70353" y="68303"/>
                    <a:pt x="72469" y="64894"/>
                  </a:cubicBezTo>
                  <a:cubicBezTo>
                    <a:pt x="73680" y="62940"/>
                    <a:pt x="74827" y="61082"/>
                    <a:pt x="75167" y="59305"/>
                  </a:cubicBezTo>
                  <a:cubicBezTo>
                    <a:pt x="75974" y="55041"/>
                    <a:pt x="72114" y="50614"/>
                    <a:pt x="68721" y="46705"/>
                  </a:cubicBezTo>
                  <a:lnTo>
                    <a:pt x="68543" y="46511"/>
                  </a:lnTo>
                  <a:cubicBezTo>
                    <a:pt x="59400" y="36027"/>
                    <a:pt x="52195" y="23540"/>
                    <a:pt x="47721" y="10374"/>
                  </a:cubicBezTo>
                  <a:lnTo>
                    <a:pt x="47495" y="9696"/>
                  </a:lnTo>
                  <a:lnTo>
                    <a:pt x="47462" y="971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1" name="Free-form: Shape 300">
              <a:extLst>
                <a:ext uri="{FF2B5EF4-FFF2-40B4-BE49-F238E27FC236}">
                  <a16:creationId xmlns:a16="http://schemas.microsoft.com/office/drawing/2014/main" id="{6AB5F276-7276-D04F-2AC6-DDCB3F39D929}"/>
                </a:ext>
              </a:extLst>
            </p:cNvPr>
            <p:cNvSpPr/>
            <p:nvPr/>
          </p:nvSpPr>
          <p:spPr>
            <a:xfrm>
              <a:off x="5537491" y="5043254"/>
              <a:ext cx="65821" cy="49811"/>
            </a:xfrm>
            <a:custGeom>
              <a:avLst/>
              <a:gdLst>
                <a:gd name="connsiteX0" fmla="*/ 56726 w 65821"/>
                <a:gd name="connsiteY0" fmla="*/ 5412 h 49811"/>
                <a:gd name="connsiteX1" fmla="*/ 53318 w 65821"/>
                <a:gd name="connsiteY1" fmla="*/ 5719 h 49811"/>
                <a:gd name="connsiteX2" fmla="*/ 42333 w 65821"/>
                <a:gd name="connsiteY2" fmla="*/ 5282 h 49811"/>
                <a:gd name="connsiteX3" fmla="*/ 36631 w 65821"/>
                <a:gd name="connsiteY3" fmla="*/ 2488 h 49811"/>
                <a:gd name="connsiteX4" fmla="*/ 30605 w 65821"/>
                <a:gd name="connsiteY4" fmla="*/ 0 h 49811"/>
                <a:gd name="connsiteX5" fmla="*/ 29345 w 65821"/>
                <a:gd name="connsiteY5" fmla="*/ 243 h 49811"/>
                <a:gd name="connsiteX6" fmla="*/ 25630 w 65821"/>
                <a:gd name="connsiteY6" fmla="*/ 4750 h 49811"/>
                <a:gd name="connsiteX7" fmla="*/ 22253 w 65821"/>
                <a:gd name="connsiteY7" fmla="*/ 9676 h 49811"/>
                <a:gd name="connsiteX8" fmla="*/ 11931 w 65821"/>
                <a:gd name="connsiteY8" fmla="*/ 14652 h 49811"/>
                <a:gd name="connsiteX9" fmla="*/ 5615 w 65821"/>
                <a:gd name="connsiteY9" fmla="*/ 16946 h 49811"/>
                <a:gd name="connsiteX10" fmla="*/ 25 w 65821"/>
                <a:gd name="connsiteY10" fmla="*/ 29045 h 49811"/>
                <a:gd name="connsiteX11" fmla="*/ 5921 w 65821"/>
                <a:gd name="connsiteY11" fmla="*/ 43100 h 49811"/>
                <a:gd name="connsiteX12" fmla="*/ 16680 w 65821"/>
                <a:gd name="connsiteY12" fmla="*/ 49755 h 49811"/>
                <a:gd name="connsiteX13" fmla="*/ 25597 w 65821"/>
                <a:gd name="connsiteY13" fmla="*/ 43051 h 49811"/>
                <a:gd name="connsiteX14" fmla="*/ 27617 w 65821"/>
                <a:gd name="connsiteY14" fmla="*/ 40806 h 49811"/>
                <a:gd name="connsiteX15" fmla="*/ 45871 w 65821"/>
                <a:gd name="connsiteY15" fmla="*/ 36832 h 49811"/>
                <a:gd name="connsiteX16" fmla="*/ 58778 w 65821"/>
                <a:gd name="connsiteY16" fmla="*/ 40014 h 49811"/>
                <a:gd name="connsiteX17" fmla="*/ 63091 w 65821"/>
                <a:gd name="connsiteY17" fmla="*/ 38851 h 49811"/>
                <a:gd name="connsiteX18" fmla="*/ 59360 w 65821"/>
                <a:gd name="connsiteY18" fmla="*/ 33714 h 49811"/>
                <a:gd name="connsiteX19" fmla="*/ 55305 w 65821"/>
                <a:gd name="connsiteY19" fmla="*/ 20855 h 49811"/>
                <a:gd name="connsiteX20" fmla="*/ 59311 w 65821"/>
                <a:gd name="connsiteY20" fmla="*/ 18028 h 49811"/>
                <a:gd name="connsiteX21" fmla="*/ 59715 w 65821"/>
                <a:gd name="connsiteY21" fmla="*/ 17850 h 49811"/>
                <a:gd name="connsiteX22" fmla="*/ 65498 w 65821"/>
                <a:gd name="connsiteY22" fmla="*/ 8740 h 49811"/>
                <a:gd name="connsiteX23" fmla="*/ 56743 w 65821"/>
                <a:gd name="connsiteY23" fmla="*/ 5396 h 49811"/>
                <a:gd name="connsiteX24" fmla="*/ 56726 w 65821"/>
                <a:gd name="connsiteY24" fmla="*/ 5412 h 49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5821" h="49811">
                  <a:moveTo>
                    <a:pt x="56726" y="5412"/>
                  </a:moveTo>
                  <a:cubicBezTo>
                    <a:pt x="55596" y="5476"/>
                    <a:pt x="54465" y="5590"/>
                    <a:pt x="53318" y="5719"/>
                  </a:cubicBezTo>
                  <a:cubicBezTo>
                    <a:pt x="49748" y="6106"/>
                    <a:pt x="46065" y="6494"/>
                    <a:pt x="42333" y="5282"/>
                  </a:cubicBezTo>
                  <a:cubicBezTo>
                    <a:pt x="40281" y="4620"/>
                    <a:pt x="38424" y="3538"/>
                    <a:pt x="36631" y="2488"/>
                  </a:cubicBezTo>
                  <a:cubicBezTo>
                    <a:pt x="34062" y="1002"/>
                    <a:pt x="32204" y="0"/>
                    <a:pt x="30605" y="0"/>
                  </a:cubicBezTo>
                  <a:cubicBezTo>
                    <a:pt x="30169" y="0"/>
                    <a:pt x="29749" y="81"/>
                    <a:pt x="29345" y="243"/>
                  </a:cubicBezTo>
                  <a:cubicBezTo>
                    <a:pt x="27810" y="856"/>
                    <a:pt x="26793" y="2650"/>
                    <a:pt x="25630" y="4750"/>
                  </a:cubicBezTo>
                  <a:cubicBezTo>
                    <a:pt x="24676" y="6429"/>
                    <a:pt x="23707" y="8174"/>
                    <a:pt x="22253" y="9676"/>
                  </a:cubicBezTo>
                  <a:cubicBezTo>
                    <a:pt x="19346" y="12681"/>
                    <a:pt x="15404" y="13731"/>
                    <a:pt x="11931" y="14652"/>
                  </a:cubicBezTo>
                  <a:cubicBezTo>
                    <a:pt x="9588" y="15282"/>
                    <a:pt x="7392" y="15864"/>
                    <a:pt x="5615" y="16946"/>
                  </a:cubicBezTo>
                  <a:cubicBezTo>
                    <a:pt x="1980" y="19143"/>
                    <a:pt x="-266" y="24005"/>
                    <a:pt x="25" y="29045"/>
                  </a:cubicBezTo>
                  <a:cubicBezTo>
                    <a:pt x="284" y="33488"/>
                    <a:pt x="2271" y="38221"/>
                    <a:pt x="5921" y="43100"/>
                  </a:cubicBezTo>
                  <a:cubicBezTo>
                    <a:pt x="7973" y="45830"/>
                    <a:pt x="12092" y="50369"/>
                    <a:pt x="16680" y="49755"/>
                  </a:cubicBezTo>
                  <a:cubicBezTo>
                    <a:pt x="20073" y="49319"/>
                    <a:pt x="22754" y="46266"/>
                    <a:pt x="25597" y="43051"/>
                  </a:cubicBezTo>
                  <a:cubicBezTo>
                    <a:pt x="26276" y="42292"/>
                    <a:pt x="26938" y="41533"/>
                    <a:pt x="27617" y="40806"/>
                  </a:cubicBezTo>
                  <a:cubicBezTo>
                    <a:pt x="32640" y="35426"/>
                    <a:pt x="40492" y="32373"/>
                    <a:pt x="45871" y="36832"/>
                  </a:cubicBezTo>
                  <a:cubicBezTo>
                    <a:pt x="49958" y="39514"/>
                    <a:pt x="53302" y="39707"/>
                    <a:pt x="58778" y="40014"/>
                  </a:cubicBezTo>
                  <a:cubicBezTo>
                    <a:pt x="60991" y="40143"/>
                    <a:pt x="62720" y="39675"/>
                    <a:pt x="63091" y="38851"/>
                  </a:cubicBezTo>
                  <a:cubicBezTo>
                    <a:pt x="63560" y="37833"/>
                    <a:pt x="62170" y="35911"/>
                    <a:pt x="59360" y="33714"/>
                  </a:cubicBezTo>
                  <a:cubicBezTo>
                    <a:pt x="55046" y="30338"/>
                    <a:pt x="52123" y="25055"/>
                    <a:pt x="55305" y="20855"/>
                  </a:cubicBezTo>
                  <a:cubicBezTo>
                    <a:pt x="56452" y="19337"/>
                    <a:pt x="58035" y="18610"/>
                    <a:pt x="59311" y="18028"/>
                  </a:cubicBezTo>
                  <a:lnTo>
                    <a:pt x="59715" y="17850"/>
                  </a:lnTo>
                  <a:cubicBezTo>
                    <a:pt x="63576" y="16041"/>
                    <a:pt x="66887" y="11857"/>
                    <a:pt x="65498" y="8740"/>
                  </a:cubicBezTo>
                  <a:cubicBezTo>
                    <a:pt x="64254" y="5977"/>
                    <a:pt x="60006" y="5218"/>
                    <a:pt x="56743" y="5396"/>
                  </a:cubicBezTo>
                  <a:lnTo>
                    <a:pt x="56726" y="541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2" name="Free-form: Shape 301">
              <a:extLst>
                <a:ext uri="{FF2B5EF4-FFF2-40B4-BE49-F238E27FC236}">
                  <a16:creationId xmlns:a16="http://schemas.microsoft.com/office/drawing/2014/main" id="{099B244D-EBF0-A42A-12F4-9DE5A8162BAA}"/>
                </a:ext>
              </a:extLst>
            </p:cNvPr>
            <p:cNvSpPr/>
            <p:nvPr/>
          </p:nvSpPr>
          <p:spPr>
            <a:xfrm>
              <a:off x="5578341" y="5105352"/>
              <a:ext cx="81647" cy="67799"/>
            </a:xfrm>
            <a:custGeom>
              <a:avLst/>
              <a:gdLst>
                <a:gd name="connsiteX0" fmla="*/ 59589 w 81647"/>
                <a:gd name="connsiteY0" fmla="*/ 35069 h 67799"/>
                <a:gd name="connsiteX1" fmla="*/ 60881 w 81647"/>
                <a:gd name="connsiteY1" fmla="*/ 40400 h 67799"/>
                <a:gd name="connsiteX2" fmla="*/ 60558 w 81647"/>
                <a:gd name="connsiteY2" fmla="*/ 41030 h 67799"/>
                <a:gd name="connsiteX3" fmla="*/ 60687 w 81647"/>
                <a:gd name="connsiteY3" fmla="*/ 41935 h 67799"/>
                <a:gd name="connsiteX4" fmla="*/ 63320 w 81647"/>
                <a:gd name="connsiteY4" fmla="*/ 43566 h 67799"/>
                <a:gd name="connsiteX5" fmla="*/ 70606 w 81647"/>
                <a:gd name="connsiteY5" fmla="*/ 39076 h 67799"/>
                <a:gd name="connsiteX6" fmla="*/ 76922 w 81647"/>
                <a:gd name="connsiteY6" fmla="*/ 33002 h 67799"/>
                <a:gd name="connsiteX7" fmla="*/ 81139 w 81647"/>
                <a:gd name="connsiteY7" fmla="*/ 27768 h 67799"/>
                <a:gd name="connsiteX8" fmla="*/ 76244 w 81647"/>
                <a:gd name="connsiteY8" fmla="*/ 13051 h 67799"/>
                <a:gd name="connsiteX9" fmla="*/ 71188 w 81647"/>
                <a:gd name="connsiteY9" fmla="*/ 8027 h 67799"/>
                <a:gd name="connsiteX10" fmla="*/ 66244 w 81647"/>
                <a:gd name="connsiteY10" fmla="*/ 7494 h 67799"/>
                <a:gd name="connsiteX11" fmla="*/ 62642 w 81647"/>
                <a:gd name="connsiteY11" fmla="*/ 7381 h 67799"/>
                <a:gd name="connsiteX12" fmla="*/ 51447 w 81647"/>
                <a:gd name="connsiteY12" fmla="*/ 3423 h 67799"/>
                <a:gd name="connsiteX13" fmla="*/ 42385 w 81647"/>
                <a:gd name="connsiteY13" fmla="*/ 63 h 67799"/>
                <a:gd name="connsiteX14" fmla="*/ 38233 w 81647"/>
                <a:gd name="connsiteY14" fmla="*/ 919 h 67799"/>
                <a:gd name="connsiteX15" fmla="*/ 36844 w 81647"/>
                <a:gd name="connsiteY15" fmla="*/ 2842 h 67799"/>
                <a:gd name="connsiteX16" fmla="*/ 36117 w 81647"/>
                <a:gd name="connsiteY16" fmla="*/ 4005 h 67799"/>
                <a:gd name="connsiteX17" fmla="*/ 21433 w 81647"/>
                <a:gd name="connsiteY17" fmla="*/ 14246 h 67799"/>
                <a:gd name="connsiteX18" fmla="*/ 18444 w 81647"/>
                <a:gd name="connsiteY18" fmla="*/ 15603 h 67799"/>
                <a:gd name="connsiteX19" fmla="*/ 7912 w 81647"/>
                <a:gd name="connsiteY19" fmla="*/ 27267 h 67799"/>
                <a:gd name="connsiteX20" fmla="*/ 9365 w 81647"/>
                <a:gd name="connsiteY20" fmla="*/ 33099 h 67799"/>
                <a:gd name="connsiteX21" fmla="*/ 11142 w 81647"/>
                <a:gd name="connsiteY21" fmla="*/ 41628 h 67799"/>
                <a:gd name="connsiteX22" fmla="*/ 4761 w 81647"/>
                <a:gd name="connsiteY22" fmla="*/ 53808 h 67799"/>
                <a:gd name="connsiteX23" fmla="*/ 2952 w 81647"/>
                <a:gd name="connsiteY23" fmla="*/ 55989 h 67799"/>
                <a:gd name="connsiteX24" fmla="*/ 691 w 81647"/>
                <a:gd name="connsiteY24" fmla="*/ 65536 h 67799"/>
                <a:gd name="connsiteX25" fmla="*/ 11514 w 81647"/>
                <a:gd name="connsiteY25" fmla="*/ 67765 h 67799"/>
                <a:gd name="connsiteX26" fmla="*/ 13000 w 81647"/>
                <a:gd name="connsiteY26" fmla="*/ 67475 h 67799"/>
                <a:gd name="connsiteX27" fmla="*/ 13372 w 81647"/>
                <a:gd name="connsiteY27" fmla="*/ 65358 h 67799"/>
                <a:gd name="connsiteX28" fmla="*/ 15989 w 81647"/>
                <a:gd name="connsiteY28" fmla="*/ 53049 h 67799"/>
                <a:gd name="connsiteX29" fmla="*/ 28864 w 81647"/>
                <a:gd name="connsiteY29" fmla="*/ 47136 h 67799"/>
                <a:gd name="connsiteX30" fmla="*/ 35616 w 81647"/>
                <a:gd name="connsiteY30" fmla="*/ 52758 h 67799"/>
                <a:gd name="connsiteX31" fmla="*/ 37474 w 81647"/>
                <a:gd name="connsiteY31" fmla="*/ 54971 h 67799"/>
                <a:gd name="connsiteX32" fmla="*/ 48943 w 81647"/>
                <a:gd name="connsiteY32" fmla="*/ 57976 h 67799"/>
                <a:gd name="connsiteX33" fmla="*/ 49121 w 81647"/>
                <a:gd name="connsiteY33" fmla="*/ 57911 h 67799"/>
                <a:gd name="connsiteX34" fmla="*/ 48879 w 81647"/>
                <a:gd name="connsiteY34" fmla="*/ 57556 h 67799"/>
                <a:gd name="connsiteX35" fmla="*/ 43855 w 81647"/>
                <a:gd name="connsiteY35" fmla="*/ 47637 h 67799"/>
                <a:gd name="connsiteX36" fmla="*/ 48232 w 81647"/>
                <a:gd name="connsiteY36" fmla="*/ 35651 h 67799"/>
                <a:gd name="connsiteX37" fmla="*/ 59557 w 81647"/>
                <a:gd name="connsiteY37" fmla="*/ 35069 h 67799"/>
                <a:gd name="connsiteX38" fmla="*/ 59589 w 81647"/>
                <a:gd name="connsiteY38" fmla="*/ 35069 h 6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1647" h="67799">
                  <a:moveTo>
                    <a:pt x="59589" y="35069"/>
                  </a:moveTo>
                  <a:cubicBezTo>
                    <a:pt x="61156" y="36329"/>
                    <a:pt x="61640" y="38316"/>
                    <a:pt x="60881" y="40400"/>
                  </a:cubicBezTo>
                  <a:cubicBezTo>
                    <a:pt x="60800" y="40626"/>
                    <a:pt x="60687" y="40836"/>
                    <a:pt x="60558" y="41030"/>
                  </a:cubicBezTo>
                  <a:cubicBezTo>
                    <a:pt x="60510" y="41111"/>
                    <a:pt x="60348" y="41337"/>
                    <a:pt x="60687" y="41935"/>
                  </a:cubicBezTo>
                  <a:cubicBezTo>
                    <a:pt x="61204" y="42872"/>
                    <a:pt x="62351" y="43599"/>
                    <a:pt x="63320" y="43566"/>
                  </a:cubicBezTo>
                  <a:cubicBezTo>
                    <a:pt x="65824" y="43486"/>
                    <a:pt x="68199" y="41402"/>
                    <a:pt x="70606" y="39076"/>
                  </a:cubicBezTo>
                  <a:lnTo>
                    <a:pt x="76922" y="33002"/>
                  </a:lnTo>
                  <a:cubicBezTo>
                    <a:pt x="78618" y="31386"/>
                    <a:pt x="80363" y="29706"/>
                    <a:pt x="81139" y="27768"/>
                  </a:cubicBezTo>
                  <a:cubicBezTo>
                    <a:pt x="82932" y="23309"/>
                    <a:pt x="79669" y="17832"/>
                    <a:pt x="76244" y="13051"/>
                  </a:cubicBezTo>
                  <a:cubicBezTo>
                    <a:pt x="74532" y="10676"/>
                    <a:pt x="73078" y="8803"/>
                    <a:pt x="71188" y="8027"/>
                  </a:cubicBezTo>
                  <a:cubicBezTo>
                    <a:pt x="69815" y="7462"/>
                    <a:pt x="68070" y="7462"/>
                    <a:pt x="66244" y="7494"/>
                  </a:cubicBezTo>
                  <a:cubicBezTo>
                    <a:pt x="65081" y="7494"/>
                    <a:pt x="63886" y="7494"/>
                    <a:pt x="62642" y="7381"/>
                  </a:cubicBezTo>
                  <a:cubicBezTo>
                    <a:pt x="58507" y="6961"/>
                    <a:pt x="54920" y="5168"/>
                    <a:pt x="51447" y="3423"/>
                  </a:cubicBezTo>
                  <a:cubicBezTo>
                    <a:pt x="48346" y="1872"/>
                    <a:pt x="45422" y="402"/>
                    <a:pt x="42385" y="63"/>
                  </a:cubicBezTo>
                  <a:cubicBezTo>
                    <a:pt x="40592" y="-147"/>
                    <a:pt x="39073" y="176"/>
                    <a:pt x="38233" y="919"/>
                  </a:cubicBezTo>
                  <a:cubicBezTo>
                    <a:pt x="37748" y="1355"/>
                    <a:pt x="37312" y="2082"/>
                    <a:pt x="36844" y="2842"/>
                  </a:cubicBezTo>
                  <a:cubicBezTo>
                    <a:pt x="36601" y="3229"/>
                    <a:pt x="36375" y="3617"/>
                    <a:pt x="36117" y="4005"/>
                  </a:cubicBezTo>
                  <a:cubicBezTo>
                    <a:pt x="32579" y="9303"/>
                    <a:pt x="26925" y="11823"/>
                    <a:pt x="21433" y="14246"/>
                  </a:cubicBezTo>
                  <a:cubicBezTo>
                    <a:pt x="20431" y="14699"/>
                    <a:pt x="19430" y="15135"/>
                    <a:pt x="18444" y="15603"/>
                  </a:cubicBezTo>
                  <a:cubicBezTo>
                    <a:pt x="15278" y="17106"/>
                    <a:pt x="7895" y="21225"/>
                    <a:pt x="7912" y="27267"/>
                  </a:cubicBezTo>
                  <a:cubicBezTo>
                    <a:pt x="7912" y="29108"/>
                    <a:pt x="8622" y="31047"/>
                    <a:pt x="9365" y="33099"/>
                  </a:cubicBezTo>
                  <a:cubicBezTo>
                    <a:pt x="10286" y="35634"/>
                    <a:pt x="11320" y="38494"/>
                    <a:pt x="11142" y="41628"/>
                  </a:cubicBezTo>
                  <a:cubicBezTo>
                    <a:pt x="10835" y="46652"/>
                    <a:pt x="7605" y="50448"/>
                    <a:pt x="4761" y="53808"/>
                  </a:cubicBezTo>
                  <a:cubicBezTo>
                    <a:pt x="4148" y="54535"/>
                    <a:pt x="3534" y="55262"/>
                    <a:pt x="2952" y="55989"/>
                  </a:cubicBezTo>
                  <a:cubicBezTo>
                    <a:pt x="561" y="58994"/>
                    <a:pt x="-957" y="63258"/>
                    <a:pt x="691" y="65536"/>
                  </a:cubicBezTo>
                  <a:cubicBezTo>
                    <a:pt x="4002" y="67200"/>
                    <a:pt x="7831" y="67975"/>
                    <a:pt x="11514" y="67765"/>
                  </a:cubicBezTo>
                  <a:cubicBezTo>
                    <a:pt x="12742" y="67701"/>
                    <a:pt x="12984" y="67491"/>
                    <a:pt x="13000" y="67475"/>
                  </a:cubicBezTo>
                  <a:cubicBezTo>
                    <a:pt x="13129" y="67362"/>
                    <a:pt x="13291" y="66893"/>
                    <a:pt x="13372" y="65358"/>
                  </a:cubicBezTo>
                  <a:cubicBezTo>
                    <a:pt x="13549" y="61643"/>
                    <a:pt x="13792" y="57006"/>
                    <a:pt x="15989" y="53049"/>
                  </a:cubicBezTo>
                  <a:cubicBezTo>
                    <a:pt x="18299" y="48881"/>
                    <a:pt x="23613" y="45392"/>
                    <a:pt x="28864" y="47136"/>
                  </a:cubicBezTo>
                  <a:cubicBezTo>
                    <a:pt x="31997" y="48170"/>
                    <a:pt x="33920" y="50609"/>
                    <a:pt x="35616" y="52758"/>
                  </a:cubicBezTo>
                  <a:cubicBezTo>
                    <a:pt x="36246" y="53566"/>
                    <a:pt x="36860" y="54325"/>
                    <a:pt x="37474" y="54971"/>
                  </a:cubicBezTo>
                  <a:cubicBezTo>
                    <a:pt x="40365" y="57944"/>
                    <a:pt x="44969" y="59155"/>
                    <a:pt x="48943" y="57976"/>
                  </a:cubicBezTo>
                  <a:cubicBezTo>
                    <a:pt x="49008" y="57960"/>
                    <a:pt x="49072" y="57944"/>
                    <a:pt x="49121" y="57911"/>
                  </a:cubicBezTo>
                  <a:cubicBezTo>
                    <a:pt x="49056" y="57814"/>
                    <a:pt x="48976" y="57701"/>
                    <a:pt x="48879" y="57556"/>
                  </a:cubicBezTo>
                  <a:cubicBezTo>
                    <a:pt x="46892" y="54680"/>
                    <a:pt x="44662" y="51466"/>
                    <a:pt x="43855" y="47637"/>
                  </a:cubicBezTo>
                  <a:cubicBezTo>
                    <a:pt x="42998" y="43566"/>
                    <a:pt x="44016" y="38284"/>
                    <a:pt x="48232" y="35651"/>
                  </a:cubicBezTo>
                  <a:cubicBezTo>
                    <a:pt x="50672" y="34132"/>
                    <a:pt x="56536" y="32630"/>
                    <a:pt x="59557" y="35069"/>
                  </a:cubicBezTo>
                  <a:lnTo>
                    <a:pt x="59589" y="3506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3" name="Free-form: Shape 302">
              <a:extLst>
                <a:ext uri="{FF2B5EF4-FFF2-40B4-BE49-F238E27FC236}">
                  <a16:creationId xmlns:a16="http://schemas.microsoft.com/office/drawing/2014/main" id="{7C522542-47FD-1C97-7182-5EDC4FBBA6C8}"/>
                </a:ext>
              </a:extLst>
            </p:cNvPr>
            <p:cNvSpPr/>
            <p:nvPr/>
          </p:nvSpPr>
          <p:spPr>
            <a:xfrm>
              <a:off x="5011761" y="5099290"/>
              <a:ext cx="100110" cy="71565"/>
            </a:xfrm>
            <a:custGeom>
              <a:avLst/>
              <a:gdLst>
                <a:gd name="connsiteX0" fmla="*/ 88735 w 100110"/>
                <a:gd name="connsiteY0" fmla="*/ 71566 h 71565"/>
                <a:gd name="connsiteX1" fmla="*/ 100043 w 100110"/>
                <a:gd name="connsiteY1" fmla="*/ 60953 h 71565"/>
                <a:gd name="connsiteX2" fmla="*/ 91562 w 100110"/>
                <a:gd name="connsiteY2" fmla="*/ 46930 h 71565"/>
                <a:gd name="connsiteX3" fmla="*/ 81838 w 100110"/>
                <a:gd name="connsiteY3" fmla="*/ 44863 h 71565"/>
                <a:gd name="connsiteX4" fmla="*/ 78429 w 100110"/>
                <a:gd name="connsiteY4" fmla="*/ 44136 h 71565"/>
                <a:gd name="connsiteX5" fmla="*/ 76006 w 100110"/>
                <a:gd name="connsiteY5" fmla="*/ 43587 h 71565"/>
                <a:gd name="connsiteX6" fmla="*/ 59739 w 100110"/>
                <a:gd name="connsiteY6" fmla="*/ 27885 h 71565"/>
                <a:gd name="connsiteX7" fmla="*/ 59723 w 100110"/>
                <a:gd name="connsiteY7" fmla="*/ 25914 h 71565"/>
                <a:gd name="connsiteX8" fmla="*/ 59513 w 100110"/>
                <a:gd name="connsiteY8" fmla="*/ 23022 h 71565"/>
                <a:gd name="connsiteX9" fmla="*/ 56879 w 100110"/>
                <a:gd name="connsiteY9" fmla="*/ 19258 h 71565"/>
                <a:gd name="connsiteX10" fmla="*/ 44731 w 100110"/>
                <a:gd name="connsiteY10" fmla="*/ 5980 h 71565"/>
                <a:gd name="connsiteX11" fmla="*/ 34328 w 100110"/>
                <a:gd name="connsiteY11" fmla="*/ 196 h 71565"/>
                <a:gd name="connsiteX12" fmla="*/ 30419 w 100110"/>
                <a:gd name="connsiteY12" fmla="*/ 2894 h 71565"/>
                <a:gd name="connsiteX13" fmla="*/ 24232 w 100110"/>
                <a:gd name="connsiteY13" fmla="*/ 6836 h 71565"/>
                <a:gd name="connsiteX14" fmla="*/ 18691 w 100110"/>
                <a:gd name="connsiteY14" fmla="*/ 7224 h 71565"/>
                <a:gd name="connsiteX15" fmla="*/ 16300 w 100110"/>
                <a:gd name="connsiteY15" fmla="*/ 7175 h 71565"/>
                <a:gd name="connsiteX16" fmla="*/ 1567 w 100110"/>
                <a:gd name="connsiteY16" fmla="*/ 22990 h 71565"/>
                <a:gd name="connsiteX17" fmla="*/ 1357 w 100110"/>
                <a:gd name="connsiteY17" fmla="*/ 32489 h 71565"/>
                <a:gd name="connsiteX18" fmla="*/ 5170 w 100110"/>
                <a:gd name="connsiteY18" fmla="*/ 32456 h 71565"/>
                <a:gd name="connsiteX19" fmla="*/ 40176 w 100110"/>
                <a:gd name="connsiteY19" fmla="*/ 25042 h 71565"/>
                <a:gd name="connsiteX20" fmla="*/ 42567 w 100110"/>
                <a:gd name="connsiteY20" fmla="*/ 25478 h 71565"/>
                <a:gd name="connsiteX21" fmla="*/ 46072 w 100110"/>
                <a:gd name="connsiteY21" fmla="*/ 31471 h 71565"/>
                <a:gd name="connsiteX22" fmla="*/ 43197 w 100110"/>
                <a:gd name="connsiteY22" fmla="*/ 40921 h 71565"/>
                <a:gd name="connsiteX23" fmla="*/ 35653 w 100110"/>
                <a:gd name="connsiteY23" fmla="*/ 46704 h 71565"/>
                <a:gd name="connsiteX24" fmla="*/ 32438 w 100110"/>
                <a:gd name="connsiteY24" fmla="*/ 48724 h 71565"/>
                <a:gd name="connsiteX25" fmla="*/ 27818 w 100110"/>
                <a:gd name="connsiteY25" fmla="*/ 56219 h 71565"/>
                <a:gd name="connsiteX26" fmla="*/ 34990 w 100110"/>
                <a:gd name="connsiteY26" fmla="*/ 60872 h 71565"/>
                <a:gd name="connsiteX27" fmla="*/ 42890 w 100110"/>
                <a:gd name="connsiteY27" fmla="*/ 59822 h 71565"/>
                <a:gd name="connsiteX28" fmla="*/ 47365 w 100110"/>
                <a:gd name="connsiteY28" fmla="*/ 58949 h 71565"/>
                <a:gd name="connsiteX29" fmla="*/ 52889 w 100110"/>
                <a:gd name="connsiteY29" fmla="*/ 58529 h 71565"/>
                <a:gd name="connsiteX30" fmla="*/ 70255 w 100110"/>
                <a:gd name="connsiteY30" fmla="*/ 62794 h 71565"/>
                <a:gd name="connsiteX31" fmla="*/ 75925 w 100110"/>
                <a:gd name="connsiteY31" fmla="*/ 66203 h 71565"/>
                <a:gd name="connsiteX32" fmla="*/ 88671 w 100110"/>
                <a:gd name="connsiteY32" fmla="*/ 71549 h 71565"/>
                <a:gd name="connsiteX33" fmla="*/ 88703 w 100110"/>
                <a:gd name="connsiteY33" fmla="*/ 71549 h 71565"/>
                <a:gd name="connsiteX34" fmla="*/ 88735 w 100110"/>
                <a:gd name="connsiteY34" fmla="*/ 71566 h 71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0110" h="71565">
                  <a:moveTo>
                    <a:pt x="88735" y="71566"/>
                  </a:moveTo>
                  <a:cubicBezTo>
                    <a:pt x="94244" y="71549"/>
                    <a:pt x="99430" y="66687"/>
                    <a:pt x="100043" y="60953"/>
                  </a:cubicBezTo>
                  <a:cubicBezTo>
                    <a:pt x="100657" y="55347"/>
                    <a:pt x="97006" y="49322"/>
                    <a:pt x="91562" y="46930"/>
                  </a:cubicBezTo>
                  <a:cubicBezTo>
                    <a:pt x="88622" y="45638"/>
                    <a:pt x="85165" y="45235"/>
                    <a:pt x="81838" y="44863"/>
                  </a:cubicBezTo>
                  <a:cubicBezTo>
                    <a:pt x="80561" y="44717"/>
                    <a:pt x="79431" y="44411"/>
                    <a:pt x="78429" y="44136"/>
                  </a:cubicBezTo>
                  <a:cubicBezTo>
                    <a:pt x="77605" y="43910"/>
                    <a:pt x="76814" y="43700"/>
                    <a:pt x="76006" y="43587"/>
                  </a:cubicBezTo>
                  <a:cubicBezTo>
                    <a:pt x="67606" y="43441"/>
                    <a:pt x="60175" y="36285"/>
                    <a:pt x="59739" y="27885"/>
                  </a:cubicBezTo>
                  <a:cubicBezTo>
                    <a:pt x="59706" y="27238"/>
                    <a:pt x="59706" y="26576"/>
                    <a:pt x="59723" y="25914"/>
                  </a:cubicBezTo>
                  <a:cubicBezTo>
                    <a:pt x="59723" y="24832"/>
                    <a:pt x="59739" y="23814"/>
                    <a:pt x="59513" y="23022"/>
                  </a:cubicBezTo>
                  <a:cubicBezTo>
                    <a:pt x="59141" y="21730"/>
                    <a:pt x="57994" y="20470"/>
                    <a:pt x="56879" y="19258"/>
                  </a:cubicBezTo>
                  <a:lnTo>
                    <a:pt x="44731" y="5980"/>
                  </a:lnTo>
                  <a:cubicBezTo>
                    <a:pt x="40354" y="1198"/>
                    <a:pt x="37042" y="-644"/>
                    <a:pt x="34328" y="196"/>
                  </a:cubicBezTo>
                  <a:cubicBezTo>
                    <a:pt x="33003" y="600"/>
                    <a:pt x="31743" y="1715"/>
                    <a:pt x="30419" y="2894"/>
                  </a:cubicBezTo>
                  <a:cubicBezTo>
                    <a:pt x="28739" y="4397"/>
                    <a:pt x="26816" y="6093"/>
                    <a:pt x="24232" y="6836"/>
                  </a:cubicBezTo>
                  <a:cubicBezTo>
                    <a:pt x="22277" y="7401"/>
                    <a:pt x="20371" y="7304"/>
                    <a:pt x="18691" y="7224"/>
                  </a:cubicBezTo>
                  <a:cubicBezTo>
                    <a:pt x="17899" y="7175"/>
                    <a:pt x="17092" y="7127"/>
                    <a:pt x="16300" y="7175"/>
                  </a:cubicBezTo>
                  <a:cubicBezTo>
                    <a:pt x="9224" y="7611"/>
                    <a:pt x="4701" y="15850"/>
                    <a:pt x="1567" y="22990"/>
                  </a:cubicBezTo>
                  <a:cubicBezTo>
                    <a:pt x="210" y="26075"/>
                    <a:pt x="-1050" y="31390"/>
                    <a:pt x="1357" y="32489"/>
                  </a:cubicBezTo>
                  <a:cubicBezTo>
                    <a:pt x="2246" y="32892"/>
                    <a:pt x="3667" y="32699"/>
                    <a:pt x="5170" y="32456"/>
                  </a:cubicBezTo>
                  <a:cubicBezTo>
                    <a:pt x="16898" y="30534"/>
                    <a:pt x="28658" y="28030"/>
                    <a:pt x="40176" y="25042"/>
                  </a:cubicBezTo>
                  <a:cubicBezTo>
                    <a:pt x="41000" y="24832"/>
                    <a:pt x="41872" y="24977"/>
                    <a:pt x="42567" y="25478"/>
                  </a:cubicBezTo>
                  <a:cubicBezTo>
                    <a:pt x="44505" y="26835"/>
                    <a:pt x="45749" y="28951"/>
                    <a:pt x="46072" y="31471"/>
                  </a:cubicBezTo>
                  <a:cubicBezTo>
                    <a:pt x="46492" y="34702"/>
                    <a:pt x="45394" y="38320"/>
                    <a:pt x="43197" y="40921"/>
                  </a:cubicBezTo>
                  <a:cubicBezTo>
                    <a:pt x="41032" y="43490"/>
                    <a:pt x="38286" y="45121"/>
                    <a:pt x="35653" y="46704"/>
                  </a:cubicBezTo>
                  <a:cubicBezTo>
                    <a:pt x="34570" y="47367"/>
                    <a:pt x="33472" y="48013"/>
                    <a:pt x="32438" y="48724"/>
                  </a:cubicBezTo>
                  <a:cubicBezTo>
                    <a:pt x="29870" y="50517"/>
                    <a:pt x="27301" y="53424"/>
                    <a:pt x="27818" y="56219"/>
                  </a:cubicBezTo>
                  <a:cubicBezTo>
                    <a:pt x="28319" y="58966"/>
                    <a:pt x="31873" y="60726"/>
                    <a:pt x="34990" y="60872"/>
                  </a:cubicBezTo>
                  <a:cubicBezTo>
                    <a:pt x="37543" y="60985"/>
                    <a:pt x="40144" y="60419"/>
                    <a:pt x="42890" y="59822"/>
                  </a:cubicBezTo>
                  <a:cubicBezTo>
                    <a:pt x="44376" y="59498"/>
                    <a:pt x="45862" y="59175"/>
                    <a:pt x="47365" y="58949"/>
                  </a:cubicBezTo>
                  <a:cubicBezTo>
                    <a:pt x="49190" y="58675"/>
                    <a:pt x="51048" y="58529"/>
                    <a:pt x="52889" y="58529"/>
                  </a:cubicBezTo>
                  <a:cubicBezTo>
                    <a:pt x="58915" y="58529"/>
                    <a:pt x="64924" y="59983"/>
                    <a:pt x="70255" y="62794"/>
                  </a:cubicBezTo>
                  <a:cubicBezTo>
                    <a:pt x="72210" y="63828"/>
                    <a:pt x="74100" y="65040"/>
                    <a:pt x="75925" y="66203"/>
                  </a:cubicBezTo>
                  <a:cubicBezTo>
                    <a:pt x="80206" y="68949"/>
                    <a:pt x="84261" y="71549"/>
                    <a:pt x="88671" y="71549"/>
                  </a:cubicBezTo>
                  <a:lnTo>
                    <a:pt x="88703" y="71549"/>
                  </a:lnTo>
                  <a:lnTo>
                    <a:pt x="88735" y="715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4" name="Free-form: Shape 303">
              <a:extLst>
                <a:ext uri="{FF2B5EF4-FFF2-40B4-BE49-F238E27FC236}">
                  <a16:creationId xmlns:a16="http://schemas.microsoft.com/office/drawing/2014/main" id="{1451AA5E-FE22-B7D7-F964-19901FE5EC53}"/>
                </a:ext>
              </a:extLst>
            </p:cNvPr>
            <p:cNvSpPr/>
            <p:nvPr/>
          </p:nvSpPr>
          <p:spPr>
            <a:xfrm>
              <a:off x="6432814" y="4685418"/>
              <a:ext cx="54678" cy="55473"/>
            </a:xfrm>
            <a:custGeom>
              <a:avLst/>
              <a:gdLst>
                <a:gd name="connsiteX0" fmla="*/ 48656 w 54678"/>
                <a:gd name="connsiteY0" fmla="*/ 36303 h 55473"/>
                <a:gd name="connsiteX1" fmla="*/ 43358 w 54678"/>
                <a:gd name="connsiteY1" fmla="*/ 28549 h 55473"/>
                <a:gd name="connsiteX2" fmla="*/ 40175 w 54678"/>
                <a:gd name="connsiteY2" fmla="*/ 10941 h 55473"/>
                <a:gd name="connsiteX3" fmla="*/ 40272 w 54678"/>
                <a:gd name="connsiteY3" fmla="*/ 9406 h 55473"/>
                <a:gd name="connsiteX4" fmla="*/ 40094 w 54678"/>
                <a:gd name="connsiteY4" fmla="*/ 3364 h 55473"/>
                <a:gd name="connsiteX5" fmla="*/ 37025 w 54678"/>
                <a:gd name="connsiteY5" fmla="*/ 4 h 55473"/>
                <a:gd name="connsiteX6" fmla="*/ 32777 w 54678"/>
                <a:gd name="connsiteY6" fmla="*/ 2347 h 55473"/>
                <a:gd name="connsiteX7" fmla="*/ 32227 w 54678"/>
                <a:gd name="connsiteY7" fmla="*/ 4124 h 55473"/>
                <a:gd name="connsiteX8" fmla="*/ 29578 w 54678"/>
                <a:gd name="connsiteY8" fmla="*/ 17435 h 55473"/>
                <a:gd name="connsiteX9" fmla="*/ 25992 w 54678"/>
                <a:gd name="connsiteY9" fmla="*/ 18226 h 55473"/>
                <a:gd name="connsiteX10" fmla="*/ 17559 w 54678"/>
                <a:gd name="connsiteY10" fmla="*/ 10101 h 55473"/>
                <a:gd name="connsiteX11" fmla="*/ 17463 w 54678"/>
                <a:gd name="connsiteY11" fmla="*/ 9745 h 55473"/>
                <a:gd name="connsiteX12" fmla="*/ 14813 w 54678"/>
                <a:gd name="connsiteY12" fmla="*/ 4366 h 55473"/>
                <a:gd name="connsiteX13" fmla="*/ 9805 w 54678"/>
                <a:gd name="connsiteY13" fmla="*/ 10133 h 55473"/>
                <a:gd name="connsiteX14" fmla="*/ 791 w 54678"/>
                <a:gd name="connsiteY14" fmla="*/ 34413 h 55473"/>
                <a:gd name="connsiteX15" fmla="*/ 113 w 54678"/>
                <a:gd name="connsiteY15" fmla="*/ 38144 h 55473"/>
                <a:gd name="connsiteX16" fmla="*/ 2859 w 54678"/>
                <a:gd name="connsiteY16" fmla="*/ 39889 h 55473"/>
                <a:gd name="connsiteX17" fmla="*/ 15395 w 54678"/>
                <a:gd name="connsiteY17" fmla="*/ 40438 h 55473"/>
                <a:gd name="connsiteX18" fmla="*/ 21549 w 54678"/>
                <a:gd name="connsiteY18" fmla="*/ 40164 h 55473"/>
                <a:gd name="connsiteX19" fmla="*/ 33891 w 54678"/>
                <a:gd name="connsiteY19" fmla="*/ 43136 h 55473"/>
                <a:gd name="connsiteX20" fmla="*/ 40482 w 54678"/>
                <a:gd name="connsiteY20" fmla="*/ 49210 h 55473"/>
                <a:gd name="connsiteX21" fmla="*/ 43002 w 54678"/>
                <a:gd name="connsiteY21" fmla="*/ 51940 h 55473"/>
                <a:gd name="connsiteX22" fmla="*/ 50934 w 54678"/>
                <a:gd name="connsiteY22" fmla="*/ 55316 h 55473"/>
                <a:gd name="connsiteX23" fmla="*/ 53858 w 54678"/>
                <a:gd name="connsiteY23" fmla="*/ 52651 h 55473"/>
                <a:gd name="connsiteX24" fmla="*/ 53664 w 54678"/>
                <a:gd name="connsiteY24" fmla="*/ 43750 h 55473"/>
                <a:gd name="connsiteX25" fmla="*/ 48656 w 54678"/>
                <a:gd name="connsiteY25" fmla="*/ 36287 h 55473"/>
                <a:gd name="connsiteX26" fmla="*/ 48656 w 54678"/>
                <a:gd name="connsiteY26" fmla="*/ 36303 h 5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4678" h="55473">
                  <a:moveTo>
                    <a:pt x="48656" y="36303"/>
                  </a:moveTo>
                  <a:cubicBezTo>
                    <a:pt x="46766" y="33896"/>
                    <a:pt x="44828" y="31424"/>
                    <a:pt x="43358" y="28549"/>
                  </a:cubicBezTo>
                  <a:cubicBezTo>
                    <a:pt x="40870" y="23686"/>
                    <a:pt x="39804" y="17774"/>
                    <a:pt x="40175" y="10941"/>
                  </a:cubicBezTo>
                  <a:lnTo>
                    <a:pt x="40272" y="9406"/>
                  </a:lnTo>
                  <a:cubicBezTo>
                    <a:pt x="40418" y="7225"/>
                    <a:pt x="40563" y="5174"/>
                    <a:pt x="40094" y="3364"/>
                  </a:cubicBezTo>
                  <a:cubicBezTo>
                    <a:pt x="39691" y="1781"/>
                    <a:pt x="38431" y="85"/>
                    <a:pt x="37025" y="4"/>
                  </a:cubicBezTo>
                  <a:cubicBezTo>
                    <a:pt x="35717" y="-76"/>
                    <a:pt x="33794" y="974"/>
                    <a:pt x="32777" y="2347"/>
                  </a:cubicBezTo>
                  <a:cubicBezTo>
                    <a:pt x="32583" y="2605"/>
                    <a:pt x="31985" y="3494"/>
                    <a:pt x="32227" y="4124"/>
                  </a:cubicBezTo>
                  <a:cubicBezTo>
                    <a:pt x="33778" y="8308"/>
                    <a:pt x="32421" y="15157"/>
                    <a:pt x="29578" y="17435"/>
                  </a:cubicBezTo>
                  <a:cubicBezTo>
                    <a:pt x="28496" y="18307"/>
                    <a:pt x="27203" y="18566"/>
                    <a:pt x="25992" y="18226"/>
                  </a:cubicBezTo>
                  <a:cubicBezTo>
                    <a:pt x="22115" y="18178"/>
                    <a:pt x="18852" y="15076"/>
                    <a:pt x="17559" y="10101"/>
                  </a:cubicBezTo>
                  <a:lnTo>
                    <a:pt x="17463" y="9745"/>
                  </a:lnTo>
                  <a:cubicBezTo>
                    <a:pt x="16897" y="7548"/>
                    <a:pt x="16186" y="4818"/>
                    <a:pt x="14813" y="4366"/>
                  </a:cubicBezTo>
                  <a:cubicBezTo>
                    <a:pt x="13149" y="3833"/>
                    <a:pt x="10985" y="6935"/>
                    <a:pt x="9805" y="10133"/>
                  </a:cubicBezTo>
                  <a:lnTo>
                    <a:pt x="791" y="34413"/>
                  </a:lnTo>
                  <a:cubicBezTo>
                    <a:pt x="258" y="35834"/>
                    <a:pt x="-226" y="37304"/>
                    <a:pt x="113" y="38144"/>
                  </a:cubicBezTo>
                  <a:cubicBezTo>
                    <a:pt x="387" y="38807"/>
                    <a:pt x="1389" y="39453"/>
                    <a:pt x="2859" y="39889"/>
                  </a:cubicBezTo>
                  <a:cubicBezTo>
                    <a:pt x="6655" y="41020"/>
                    <a:pt x="10904" y="40729"/>
                    <a:pt x="15395" y="40438"/>
                  </a:cubicBezTo>
                  <a:cubicBezTo>
                    <a:pt x="17430" y="40309"/>
                    <a:pt x="19498" y="40164"/>
                    <a:pt x="21549" y="40164"/>
                  </a:cubicBezTo>
                  <a:cubicBezTo>
                    <a:pt x="25814" y="40164"/>
                    <a:pt x="30014" y="40745"/>
                    <a:pt x="33891" y="43136"/>
                  </a:cubicBezTo>
                  <a:cubicBezTo>
                    <a:pt x="36573" y="44800"/>
                    <a:pt x="38560" y="47045"/>
                    <a:pt x="40482" y="49210"/>
                  </a:cubicBezTo>
                  <a:cubicBezTo>
                    <a:pt x="41306" y="50147"/>
                    <a:pt x="42130" y="51068"/>
                    <a:pt x="43002" y="51940"/>
                  </a:cubicBezTo>
                  <a:cubicBezTo>
                    <a:pt x="44036" y="52958"/>
                    <a:pt x="47638" y="56221"/>
                    <a:pt x="50934" y="55316"/>
                  </a:cubicBezTo>
                  <a:cubicBezTo>
                    <a:pt x="52210" y="54977"/>
                    <a:pt x="53196" y="54072"/>
                    <a:pt x="53858" y="52651"/>
                  </a:cubicBezTo>
                  <a:cubicBezTo>
                    <a:pt x="55021" y="50163"/>
                    <a:pt x="54940" y="46496"/>
                    <a:pt x="53664" y="43750"/>
                  </a:cubicBezTo>
                  <a:cubicBezTo>
                    <a:pt x="52452" y="41133"/>
                    <a:pt x="50611" y="38774"/>
                    <a:pt x="48656" y="36287"/>
                  </a:cubicBezTo>
                  <a:lnTo>
                    <a:pt x="48656" y="3630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5" name="Free-form: Shape 304">
              <a:extLst>
                <a:ext uri="{FF2B5EF4-FFF2-40B4-BE49-F238E27FC236}">
                  <a16:creationId xmlns:a16="http://schemas.microsoft.com/office/drawing/2014/main" id="{0015C78F-074B-2559-8E0A-81D9B883AC22}"/>
                </a:ext>
              </a:extLst>
            </p:cNvPr>
            <p:cNvSpPr/>
            <p:nvPr/>
          </p:nvSpPr>
          <p:spPr>
            <a:xfrm>
              <a:off x="4916288" y="3132180"/>
              <a:ext cx="16472" cy="19529"/>
            </a:xfrm>
            <a:custGeom>
              <a:avLst/>
              <a:gdLst>
                <a:gd name="connsiteX0" fmla="*/ 9064 w 16472"/>
                <a:gd name="connsiteY0" fmla="*/ 32 h 19529"/>
                <a:gd name="connsiteX1" fmla="*/ 8369 w 16472"/>
                <a:gd name="connsiteY1" fmla="*/ 0 h 19529"/>
                <a:gd name="connsiteX2" fmla="*/ 1682 w 16472"/>
                <a:gd name="connsiteY2" fmla="*/ 3392 h 19529"/>
                <a:gd name="connsiteX3" fmla="*/ 18 w 16472"/>
                <a:gd name="connsiteY3" fmla="*/ 9822 h 19529"/>
                <a:gd name="connsiteX4" fmla="*/ 5268 w 16472"/>
                <a:gd name="connsiteY4" fmla="*/ 18674 h 19529"/>
                <a:gd name="connsiteX5" fmla="*/ 14185 w 16472"/>
                <a:gd name="connsiteY5" fmla="*/ 17220 h 19529"/>
                <a:gd name="connsiteX6" fmla="*/ 16237 w 16472"/>
                <a:gd name="connsiteY6" fmla="*/ 8336 h 19529"/>
                <a:gd name="connsiteX7" fmla="*/ 9064 w 16472"/>
                <a:gd name="connsiteY7" fmla="*/ 32 h 1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72" h="19529">
                  <a:moveTo>
                    <a:pt x="9064" y="32"/>
                  </a:moveTo>
                  <a:cubicBezTo>
                    <a:pt x="8838" y="16"/>
                    <a:pt x="8596" y="0"/>
                    <a:pt x="8369" y="0"/>
                  </a:cubicBezTo>
                  <a:cubicBezTo>
                    <a:pt x="5785" y="0"/>
                    <a:pt x="3152" y="1308"/>
                    <a:pt x="1682" y="3392"/>
                  </a:cubicBezTo>
                  <a:cubicBezTo>
                    <a:pt x="470" y="5105"/>
                    <a:pt x="-112" y="7382"/>
                    <a:pt x="18" y="9822"/>
                  </a:cubicBezTo>
                  <a:cubicBezTo>
                    <a:pt x="228" y="13634"/>
                    <a:pt x="2295" y="17107"/>
                    <a:pt x="5268" y="18674"/>
                  </a:cubicBezTo>
                  <a:cubicBezTo>
                    <a:pt x="8256" y="20241"/>
                    <a:pt x="12263" y="19595"/>
                    <a:pt x="14185" y="17220"/>
                  </a:cubicBezTo>
                  <a:cubicBezTo>
                    <a:pt x="15639" y="15443"/>
                    <a:pt x="17044" y="12051"/>
                    <a:pt x="16237" y="8336"/>
                  </a:cubicBezTo>
                  <a:cubicBezTo>
                    <a:pt x="15493" y="4943"/>
                    <a:pt x="13022" y="2068"/>
                    <a:pt x="9064" y="3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6" name="Free-form: Shape 305">
              <a:extLst>
                <a:ext uri="{FF2B5EF4-FFF2-40B4-BE49-F238E27FC236}">
                  <a16:creationId xmlns:a16="http://schemas.microsoft.com/office/drawing/2014/main" id="{45EF2381-83A3-D1AC-1E33-1D4DC6577568}"/>
                </a:ext>
              </a:extLst>
            </p:cNvPr>
            <p:cNvSpPr/>
            <p:nvPr/>
          </p:nvSpPr>
          <p:spPr>
            <a:xfrm>
              <a:off x="5468327" y="2362174"/>
              <a:ext cx="11429" cy="18448"/>
            </a:xfrm>
            <a:custGeom>
              <a:avLst/>
              <a:gdLst>
                <a:gd name="connsiteX0" fmla="*/ 10807 w 11429"/>
                <a:gd name="connsiteY0" fmla="*/ 0 h 18448"/>
                <a:gd name="connsiteX1" fmla="*/ 6187 w 11429"/>
                <a:gd name="connsiteY1" fmla="*/ 1664 h 18448"/>
                <a:gd name="connsiteX2" fmla="*/ 0 w 11429"/>
                <a:gd name="connsiteY2" fmla="*/ 16962 h 18448"/>
                <a:gd name="connsiteX3" fmla="*/ 242 w 11429"/>
                <a:gd name="connsiteY3" fmla="*/ 18448 h 18448"/>
                <a:gd name="connsiteX4" fmla="*/ 501 w 11429"/>
                <a:gd name="connsiteY4" fmla="*/ 18448 h 18448"/>
                <a:gd name="connsiteX5" fmla="*/ 905 w 11429"/>
                <a:gd name="connsiteY5" fmla="*/ 18432 h 18448"/>
                <a:gd name="connsiteX6" fmla="*/ 10742 w 11429"/>
                <a:gd name="connsiteY6" fmla="*/ 11324 h 18448"/>
                <a:gd name="connsiteX7" fmla="*/ 11130 w 11429"/>
                <a:gd name="connsiteY7" fmla="*/ 0 h 18448"/>
                <a:gd name="connsiteX8" fmla="*/ 10823 w 11429"/>
                <a:gd name="connsiteY8" fmla="*/ 0 h 18448"/>
                <a:gd name="connsiteX9" fmla="*/ 10807 w 11429"/>
                <a:gd name="connsiteY9" fmla="*/ 0 h 1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29" h="18448">
                  <a:moveTo>
                    <a:pt x="10807" y="0"/>
                  </a:moveTo>
                  <a:cubicBezTo>
                    <a:pt x="9159" y="0"/>
                    <a:pt x="7641" y="549"/>
                    <a:pt x="6187" y="1664"/>
                  </a:cubicBezTo>
                  <a:cubicBezTo>
                    <a:pt x="2536" y="4475"/>
                    <a:pt x="0" y="10775"/>
                    <a:pt x="0" y="16962"/>
                  </a:cubicBezTo>
                  <a:cubicBezTo>
                    <a:pt x="0" y="17931"/>
                    <a:pt x="178" y="18351"/>
                    <a:pt x="242" y="18448"/>
                  </a:cubicBezTo>
                  <a:cubicBezTo>
                    <a:pt x="258" y="18448"/>
                    <a:pt x="339" y="18448"/>
                    <a:pt x="501" y="18448"/>
                  </a:cubicBezTo>
                  <a:cubicBezTo>
                    <a:pt x="598" y="18448"/>
                    <a:pt x="727" y="18448"/>
                    <a:pt x="905" y="18432"/>
                  </a:cubicBezTo>
                  <a:cubicBezTo>
                    <a:pt x="4588" y="18109"/>
                    <a:pt x="7786" y="14749"/>
                    <a:pt x="10742" y="11324"/>
                  </a:cubicBezTo>
                  <a:cubicBezTo>
                    <a:pt x="11550" y="10129"/>
                    <a:pt x="11599" y="4555"/>
                    <a:pt x="11130" y="0"/>
                  </a:cubicBezTo>
                  <a:cubicBezTo>
                    <a:pt x="11033" y="0"/>
                    <a:pt x="10920" y="0"/>
                    <a:pt x="10823" y="0"/>
                  </a:cubicBezTo>
                  <a:lnTo>
                    <a:pt x="10807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7" name="Free-form: Shape 306">
              <a:extLst>
                <a:ext uri="{FF2B5EF4-FFF2-40B4-BE49-F238E27FC236}">
                  <a16:creationId xmlns:a16="http://schemas.microsoft.com/office/drawing/2014/main" id="{E0ACD047-1D89-12E0-3B2D-6A9C4BB22927}"/>
                </a:ext>
              </a:extLst>
            </p:cNvPr>
            <p:cNvSpPr/>
            <p:nvPr/>
          </p:nvSpPr>
          <p:spPr>
            <a:xfrm>
              <a:off x="5108149" y="4722011"/>
              <a:ext cx="49732" cy="25170"/>
            </a:xfrm>
            <a:custGeom>
              <a:avLst/>
              <a:gdLst>
                <a:gd name="connsiteX0" fmla="*/ 2201 w 49732"/>
                <a:gd name="connsiteY0" fmla="*/ 5089 h 25170"/>
                <a:gd name="connsiteX1" fmla="*/ 12233 w 49732"/>
                <a:gd name="connsiteY1" fmla="*/ 13586 h 25170"/>
                <a:gd name="connsiteX2" fmla="*/ 19195 w 49732"/>
                <a:gd name="connsiteY2" fmla="*/ 19370 h 25170"/>
                <a:gd name="connsiteX3" fmla="*/ 37175 w 49732"/>
                <a:gd name="connsiteY3" fmla="*/ 25169 h 25170"/>
                <a:gd name="connsiteX4" fmla="*/ 49678 w 49732"/>
                <a:gd name="connsiteY4" fmla="*/ 16042 h 25170"/>
                <a:gd name="connsiteX5" fmla="*/ 42409 w 49732"/>
                <a:gd name="connsiteY5" fmla="*/ 4815 h 25170"/>
                <a:gd name="connsiteX6" fmla="*/ 26287 w 49732"/>
                <a:gd name="connsiteY6" fmla="*/ 1503 h 25170"/>
                <a:gd name="connsiteX7" fmla="*/ 6579 w 49732"/>
                <a:gd name="connsiteY7" fmla="*/ 49 h 25170"/>
                <a:gd name="connsiteX8" fmla="*/ 4 w 49732"/>
                <a:gd name="connsiteY8" fmla="*/ 1891 h 25170"/>
                <a:gd name="connsiteX9" fmla="*/ 2201 w 49732"/>
                <a:gd name="connsiteY9" fmla="*/ 5105 h 25170"/>
                <a:gd name="connsiteX10" fmla="*/ 2201 w 49732"/>
                <a:gd name="connsiteY10" fmla="*/ 5089 h 2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732" h="25170">
                  <a:moveTo>
                    <a:pt x="2201" y="5089"/>
                  </a:moveTo>
                  <a:cubicBezTo>
                    <a:pt x="6530" y="9047"/>
                    <a:pt x="9422" y="11357"/>
                    <a:pt x="12233" y="13586"/>
                  </a:cubicBezTo>
                  <a:cubicBezTo>
                    <a:pt x="14446" y="15347"/>
                    <a:pt x="16546" y="17011"/>
                    <a:pt x="19195" y="19370"/>
                  </a:cubicBezTo>
                  <a:cubicBezTo>
                    <a:pt x="21634" y="21179"/>
                    <a:pt x="31020" y="25250"/>
                    <a:pt x="37175" y="25169"/>
                  </a:cubicBezTo>
                  <a:cubicBezTo>
                    <a:pt x="42683" y="25104"/>
                    <a:pt x="49032" y="21599"/>
                    <a:pt x="49678" y="16042"/>
                  </a:cubicBezTo>
                  <a:cubicBezTo>
                    <a:pt x="50243" y="11195"/>
                    <a:pt x="46302" y="6818"/>
                    <a:pt x="42409" y="4815"/>
                  </a:cubicBezTo>
                  <a:cubicBezTo>
                    <a:pt x="37595" y="2327"/>
                    <a:pt x="31844" y="1907"/>
                    <a:pt x="26287" y="1503"/>
                  </a:cubicBezTo>
                  <a:lnTo>
                    <a:pt x="6579" y="49"/>
                  </a:lnTo>
                  <a:cubicBezTo>
                    <a:pt x="3509" y="-193"/>
                    <a:pt x="117" y="469"/>
                    <a:pt x="4" y="1891"/>
                  </a:cubicBezTo>
                  <a:cubicBezTo>
                    <a:pt x="-61" y="2634"/>
                    <a:pt x="682" y="3700"/>
                    <a:pt x="2201" y="5105"/>
                  </a:cubicBezTo>
                  <a:lnTo>
                    <a:pt x="2201" y="508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8" name="Free-form: Shape 307">
              <a:extLst>
                <a:ext uri="{FF2B5EF4-FFF2-40B4-BE49-F238E27FC236}">
                  <a16:creationId xmlns:a16="http://schemas.microsoft.com/office/drawing/2014/main" id="{3F145B2F-8F14-F1A6-7379-204395BBE3FF}"/>
                </a:ext>
              </a:extLst>
            </p:cNvPr>
            <p:cNvSpPr/>
            <p:nvPr/>
          </p:nvSpPr>
          <p:spPr>
            <a:xfrm>
              <a:off x="4942143" y="5159871"/>
              <a:ext cx="16797" cy="16126"/>
            </a:xfrm>
            <a:custGeom>
              <a:avLst/>
              <a:gdLst>
                <a:gd name="connsiteX0" fmla="*/ 12723 w 16797"/>
                <a:gd name="connsiteY0" fmla="*/ 16 h 16126"/>
                <a:gd name="connsiteX1" fmla="*/ 10558 w 16797"/>
                <a:gd name="connsiteY1" fmla="*/ 388 h 16126"/>
                <a:gd name="connsiteX2" fmla="*/ 3418 w 16797"/>
                <a:gd name="connsiteY2" fmla="*/ 5993 h 16126"/>
                <a:gd name="connsiteX3" fmla="*/ 26 w 16797"/>
                <a:gd name="connsiteY3" fmla="*/ 11130 h 16126"/>
                <a:gd name="connsiteX4" fmla="*/ 1043 w 16797"/>
                <a:gd name="connsiteY4" fmla="*/ 14022 h 16126"/>
                <a:gd name="connsiteX5" fmla="*/ 5308 w 16797"/>
                <a:gd name="connsiteY5" fmla="*/ 16122 h 16126"/>
                <a:gd name="connsiteX6" fmla="*/ 14064 w 16797"/>
                <a:gd name="connsiteY6" fmla="*/ 11243 h 16126"/>
                <a:gd name="connsiteX7" fmla="*/ 16794 w 16797"/>
                <a:gd name="connsiteY7" fmla="*/ 5185 h 16126"/>
                <a:gd name="connsiteX8" fmla="*/ 16277 w 16797"/>
                <a:gd name="connsiteY8" fmla="*/ 1470 h 16126"/>
                <a:gd name="connsiteX9" fmla="*/ 12707 w 16797"/>
                <a:gd name="connsiteY9" fmla="*/ 0 h 16126"/>
                <a:gd name="connsiteX10" fmla="*/ 12723 w 16797"/>
                <a:gd name="connsiteY10" fmla="*/ 16 h 1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97" h="16126">
                  <a:moveTo>
                    <a:pt x="12723" y="16"/>
                  </a:moveTo>
                  <a:cubicBezTo>
                    <a:pt x="11980" y="16"/>
                    <a:pt x="11221" y="145"/>
                    <a:pt x="10558" y="388"/>
                  </a:cubicBezTo>
                  <a:cubicBezTo>
                    <a:pt x="7844" y="1373"/>
                    <a:pt x="5486" y="3828"/>
                    <a:pt x="3418" y="5993"/>
                  </a:cubicBezTo>
                  <a:cubicBezTo>
                    <a:pt x="1690" y="7802"/>
                    <a:pt x="252" y="9434"/>
                    <a:pt x="26" y="11130"/>
                  </a:cubicBezTo>
                  <a:cubicBezTo>
                    <a:pt x="-136" y="12358"/>
                    <a:pt x="494" y="13392"/>
                    <a:pt x="1043" y="14022"/>
                  </a:cubicBezTo>
                  <a:cubicBezTo>
                    <a:pt x="2110" y="15249"/>
                    <a:pt x="3774" y="16073"/>
                    <a:pt x="5308" y="16122"/>
                  </a:cubicBezTo>
                  <a:cubicBezTo>
                    <a:pt x="9492" y="16267"/>
                    <a:pt x="12836" y="12745"/>
                    <a:pt x="14064" y="11243"/>
                  </a:cubicBezTo>
                  <a:cubicBezTo>
                    <a:pt x="15808" y="9111"/>
                    <a:pt x="16729" y="7075"/>
                    <a:pt x="16794" y="5185"/>
                  </a:cubicBezTo>
                  <a:cubicBezTo>
                    <a:pt x="16842" y="3441"/>
                    <a:pt x="16438" y="1987"/>
                    <a:pt x="16277" y="1470"/>
                  </a:cubicBezTo>
                  <a:cubicBezTo>
                    <a:pt x="15566" y="468"/>
                    <a:pt x="14145" y="0"/>
                    <a:pt x="12707" y="0"/>
                  </a:cubicBezTo>
                  <a:lnTo>
                    <a:pt x="12723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9" name="Free-form: Shape 308">
              <a:extLst>
                <a:ext uri="{FF2B5EF4-FFF2-40B4-BE49-F238E27FC236}">
                  <a16:creationId xmlns:a16="http://schemas.microsoft.com/office/drawing/2014/main" id="{A6CBA389-BB27-DF54-B0AC-47A0C20BE661}"/>
                </a:ext>
              </a:extLst>
            </p:cNvPr>
            <p:cNvSpPr/>
            <p:nvPr/>
          </p:nvSpPr>
          <p:spPr>
            <a:xfrm>
              <a:off x="5130025" y="4525204"/>
              <a:ext cx="45435" cy="19366"/>
            </a:xfrm>
            <a:custGeom>
              <a:avLst/>
              <a:gdLst>
                <a:gd name="connsiteX0" fmla="*/ 45281 w 45435"/>
                <a:gd name="connsiteY0" fmla="*/ 5105 h 19366"/>
                <a:gd name="connsiteX1" fmla="*/ 43472 w 45435"/>
                <a:gd name="connsiteY1" fmla="*/ 3263 h 19366"/>
                <a:gd name="connsiteX2" fmla="*/ 33117 w 45435"/>
                <a:gd name="connsiteY2" fmla="*/ 0 h 19366"/>
                <a:gd name="connsiteX3" fmla="*/ 28869 w 45435"/>
                <a:gd name="connsiteY3" fmla="*/ 517 h 19366"/>
                <a:gd name="connsiteX4" fmla="*/ 22149 w 45435"/>
                <a:gd name="connsiteY4" fmla="*/ 3134 h 19366"/>
                <a:gd name="connsiteX5" fmla="*/ 16656 w 45435"/>
                <a:gd name="connsiteY5" fmla="*/ 5444 h 19366"/>
                <a:gd name="connsiteX6" fmla="*/ 11616 w 45435"/>
                <a:gd name="connsiteY6" fmla="*/ 6866 h 19366"/>
                <a:gd name="connsiteX7" fmla="*/ 3927 w 45435"/>
                <a:gd name="connsiteY7" fmla="*/ 9547 h 19366"/>
                <a:gd name="connsiteX8" fmla="*/ 147 w 45435"/>
                <a:gd name="connsiteY8" fmla="*/ 14426 h 19366"/>
                <a:gd name="connsiteX9" fmla="*/ 470 w 45435"/>
                <a:gd name="connsiteY9" fmla="*/ 17253 h 19366"/>
                <a:gd name="connsiteX10" fmla="*/ 9290 w 45435"/>
                <a:gd name="connsiteY10" fmla="*/ 19030 h 19366"/>
                <a:gd name="connsiteX11" fmla="*/ 18369 w 45435"/>
                <a:gd name="connsiteY11" fmla="*/ 16413 h 19366"/>
                <a:gd name="connsiteX12" fmla="*/ 22859 w 45435"/>
                <a:gd name="connsiteY12" fmla="*/ 14846 h 19366"/>
                <a:gd name="connsiteX13" fmla="*/ 23376 w 45435"/>
                <a:gd name="connsiteY13" fmla="*/ 14733 h 19366"/>
                <a:gd name="connsiteX14" fmla="*/ 30743 w 45435"/>
                <a:gd name="connsiteY14" fmla="*/ 14151 h 19366"/>
                <a:gd name="connsiteX15" fmla="*/ 41921 w 45435"/>
                <a:gd name="connsiteY15" fmla="*/ 10872 h 19366"/>
                <a:gd name="connsiteX16" fmla="*/ 45265 w 45435"/>
                <a:gd name="connsiteY16" fmla="*/ 5072 h 19366"/>
                <a:gd name="connsiteX17" fmla="*/ 45281 w 45435"/>
                <a:gd name="connsiteY17" fmla="*/ 5105 h 1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435" h="19366">
                  <a:moveTo>
                    <a:pt x="45281" y="5105"/>
                  </a:moveTo>
                  <a:cubicBezTo>
                    <a:pt x="45039" y="4539"/>
                    <a:pt x="44458" y="3958"/>
                    <a:pt x="43472" y="3263"/>
                  </a:cubicBezTo>
                  <a:cubicBezTo>
                    <a:pt x="40467" y="1131"/>
                    <a:pt x="36784" y="0"/>
                    <a:pt x="33117" y="0"/>
                  </a:cubicBezTo>
                  <a:cubicBezTo>
                    <a:pt x="31696" y="0"/>
                    <a:pt x="30258" y="178"/>
                    <a:pt x="28869" y="517"/>
                  </a:cubicBezTo>
                  <a:cubicBezTo>
                    <a:pt x="26623" y="1082"/>
                    <a:pt x="24443" y="2084"/>
                    <a:pt x="22149" y="3134"/>
                  </a:cubicBezTo>
                  <a:cubicBezTo>
                    <a:pt x="20388" y="3942"/>
                    <a:pt x="18579" y="4782"/>
                    <a:pt x="16656" y="5444"/>
                  </a:cubicBezTo>
                  <a:cubicBezTo>
                    <a:pt x="14976" y="6025"/>
                    <a:pt x="13264" y="6462"/>
                    <a:pt x="11616" y="6866"/>
                  </a:cubicBezTo>
                  <a:cubicBezTo>
                    <a:pt x="8805" y="7576"/>
                    <a:pt x="6156" y="8239"/>
                    <a:pt x="3927" y="9547"/>
                  </a:cubicBezTo>
                  <a:cubicBezTo>
                    <a:pt x="2085" y="10630"/>
                    <a:pt x="599" y="12552"/>
                    <a:pt x="147" y="14426"/>
                  </a:cubicBezTo>
                  <a:cubicBezTo>
                    <a:pt x="-128" y="15524"/>
                    <a:pt x="-15" y="16477"/>
                    <a:pt x="470" y="17253"/>
                  </a:cubicBezTo>
                  <a:cubicBezTo>
                    <a:pt x="1891" y="19547"/>
                    <a:pt x="5962" y="19676"/>
                    <a:pt x="9290" y="19030"/>
                  </a:cubicBezTo>
                  <a:cubicBezTo>
                    <a:pt x="13603" y="18190"/>
                    <a:pt x="15816" y="17382"/>
                    <a:pt x="18369" y="16413"/>
                  </a:cubicBezTo>
                  <a:cubicBezTo>
                    <a:pt x="19709" y="15912"/>
                    <a:pt x="21099" y="15395"/>
                    <a:pt x="22859" y="14846"/>
                  </a:cubicBezTo>
                  <a:cubicBezTo>
                    <a:pt x="23021" y="14797"/>
                    <a:pt x="23199" y="14749"/>
                    <a:pt x="23376" y="14733"/>
                  </a:cubicBezTo>
                  <a:cubicBezTo>
                    <a:pt x="26349" y="14361"/>
                    <a:pt x="28691" y="14248"/>
                    <a:pt x="30743" y="14151"/>
                  </a:cubicBezTo>
                  <a:cubicBezTo>
                    <a:pt x="35411" y="13925"/>
                    <a:pt x="37754" y="13812"/>
                    <a:pt x="41921" y="10872"/>
                  </a:cubicBezTo>
                  <a:cubicBezTo>
                    <a:pt x="44118" y="9337"/>
                    <a:pt x="46025" y="6785"/>
                    <a:pt x="45265" y="5072"/>
                  </a:cubicBezTo>
                  <a:lnTo>
                    <a:pt x="45281" y="510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0" name="Free-form: Shape 309">
              <a:extLst>
                <a:ext uri="{FF2B5EF4-FFF2-40B4-BE49-F238E27FC236}">
                  <a16:creationId xmlns:a16="http://schemas.microsoft.com/office/drawing/2014/main" id="{8CAA5025-0482-654D-9F9D-41D10E7FB8DC}"/>
                </a:ext>
              </a:extLst>
            </p:cNvPr>
            <p:cNvSpPr/>
            <p:nvPr/>
          </p:nvSpPr>
          <p:spPr>
            <a:xfrm>
              <a:off x="4989389" y="5161018"/>
              <a:ext cx="23724" cy="20705"/>
            </a:xfrm>
            <a:custGeom>
              <a:avLst/>
              <a:gdLst>
                <a:gd name="connsiteX0" fmla="*/ 23276 w 23724"/>
                <a:gd name="connsiteY0" fmla="*/ 11259 h 20705"/>
                <a:gd name="connsiteX1" fmla="*/ 10450 w 23724"/>
                <a:gd name="connsiteY1" fmla="*/ 274 h 20705"/>
                <a:gd name="connsiteX2" fmla="*/ 8657 w 23724"/>
                <a:gd name="connsiteY2" fmla="*/ 0 h 20705"/>
                <a:gd name="connsiteX3" fmla="*/ 3778 w 23724"/>
                <a:gd name="connsiteY3" fmla="*/ 1841 h 20705"/>
                <a:gd name="connsiteX4" fmla="*/ 14 w 23724"/>
                <a:gd name="connsiteY4" fmla="*/ 9498 h 20705"/>
                <a:gd name="connsiteX5" fmla="*/ 12082 w 23724"/>
                <a:gd name="connsiteY5" fmla="*/ 20435 h 20705"/>
                <a:gd name="connsiteX6" fmla="*/ 13164 w 23724"/>
                <a:gd name="connsiteY6" fmla="*/ 20516 h 20705"/>
                <a:gd name="connsiteX7" fmla="*/ 21839 w 23724"/>
                <a:gd name="connsiteY7" fmla="*/ 19126 h 20705"/>
                <a:gd name="connsiteX8" fmla="*/ 23454 w 23724"/>
                <a:gd name="connsiteY8" fmla="*/ 11485 h 20705"/>
                <a:gd name="connsiteX9" fmla="*/ 23260 w 23724"/>
                <a:gd name="connsiteY9" fmla="*/ 11243 h 20705"/>
                <a:gd name="connsiteX10" fmla="*/ 23276 w 23724"/>
                <a:gd name="connsiteY10" fmla="*/ 11259 h 20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724" h="20705">
                  <a:moveTo>
                    <a:pt x="23276" y="11259"/>
                  </a:moveTo>
                  <a:cubicBezTo>
                    <a:pt x="18850" y="4975"/>
                    <a:pt x="15022" y="1696"/>
                    <a:pt x="10450" y="274"/>
                  </a:cubicBezTo>
                  <a:cubicBezTo>
                    <a:pt x="9868" y="97"/>
                    <a:pt x="9271" y="0"/>
                    <a:pt x="8657" y="0"/>
                  </a:cubicBezTo>
                  <a:cubicBezTo>
                    <a:pt x="7025" y="0"/>
                    <a:pt x="5313" y="630"/>
                    <a:pt x="3778" y="1841"/>
                  </a:cubicBezTo>
                  <a:cubicBezTo>
                    <a:pt x="1323" y="3764"/>
                    <a:pt x="-163" y="6769"/>
                    <a:pt x="14" y="9498"/>
                  </a:cubicBezTo>
                  <a:cubicBezTo>
                    <a:pt x="354" y="15007"/>
                    <a:pt x="5878" y="20015"/>
                    <a:pt x="12082" y="20435"/>
                  </a:cubicBezTo>
                  <a:lnTo>
                    <a:pt x="13164" y="20516"/>
                  </a:lnTo>
                  <a:cubicBezTo>
                    <a:pt x="16492" y="20774"/>
                    <a:pt x="20627" y="21081"/>
                    <a:pt x="21839" y="19126"/>
                  </a:cubicBezTo>
                  <a:cubicBezTo>
                    <a:pt x="23276" y="16800"/>
                    <a:pt x="24213" y="12374"/>
                    <a:pt x="23454" y="11485"/>
                  </a:cubicBezTo>
                  <a:cubicBezTo>
                    <a:pt x="23389" y="11405"/>
                    <a:pt x="23325" y="11324"/>
                    <a:pt x="23260" y="11243"/>
                  </a:cubicBezTo>
                  <a:lnTo>
                    <a:pt x="23276" y="1125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1" name="Free-form: Shape 310">
              <a:extLst>
                <a:ext uri="{FF2B5EF4-FFF2-40B4-BE49-F238E27FC236}">
                  <a16:creationId xmlns:a16="http://schemas.microsoft.com/office/drawing/2014/main" id="{7F8D35D6-5082-879B-EEC6-46A62E533F31}"/>
                </a:ext>
              </a:extLst>
            </p:cNvPr>
            <p:cNvSpPr/>
            <p:nvPr/>
          </p:nvSpPr>
          <p:spPr>
            <a:xfrm>
              <a:off x="5168480" y="4480118"/>
              <a:ext cx="27810" cy="18722"/>
            </a:xfrm>
            <a:custGeom>
              <a:avLst/>
              <a:gdLst>
                <a:gd name="connsiteX0" fmla="*/ 22043 w 27810"/>
                <a:gd name="connsiteY0" fmla="*/ 5993 h 18722"/>
                <a:gd name="connsiteX1" fmla="*/ 20444 w 27810"/>
                <a:gd name="connsiteY1" fmla="*/ 4636 h 18722"/>
                <a:gd name="connsiteX2" fmla="*/ 10073 w 27810"/>
                <a:gd name="connsiteY2" fmla="*/ 355 h 18722"/>
                <a:gd name="connsiteX3" fmla="*/ 6390 w 27810"/>
                <a:gd name="connsiteY3" fmla="*/ 0 h 18722"/>
                <a:gd name="connsiteX4" fmla="*/ 2739 w 27810"/>
                <a:gd name="connsiteY4" fmla="*/ 662 h 18722"/>
                <a:gd name="connsiteX5" fmla="*/ 41 w 27810"/>
                <a:gd name="connsiteY5" fmla="*/ 4636 h 18722"/>
                <a:gd name="connsiteX6" fmla="*/ 3450 w 27810"/>
                <a:gd name="connsiteY6" fmla="*/ 8465 h 18722"/>
                <a:gd name="connsiteX7" fmla="*/ 15388 w 27810"/>
                <a:gd name="connsiteY7" fmla="*/ 16493 h 18722"/>
                <a:gd name="connsiteX8" fmla="*/ 20396 w 27810"/>
                <a:gd name="connsiteY8" fmla="*/ 18723 h 18722"/>
                <a:gd name="connsiteX9" fmla="*/ 27810 w 27810"/>
                <a:gd name="connsiteY9" fmla="*/ 12907 h 18722"/>
                <a:gd name="connsiteX10" fmla="*/ 22043 w 27810"/>
                <a:gd name="connsiteY10" fmla="*/ 5993 h 1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10" h="18722">
                  <a:moveTo>
                    <a:pt x="22043" y="5993"/>
                  </a:moveTo>
                  <a:cubicBezTo>
                    <a:pt x="21526" y="5557"/>
                    <a:pt x="20993" y="5121"/>
                    <a:pt x="20444" y="4636"/>
                  </a:cubicBezTo>
                  <a:cubicBezTo>
                    <a:pt x="18053" y="2536"/>
                    <a:pt x="14661" y="1131"/>
                    <a:pt x="10073" y="355"/>
                  </a:cubicBezTo>
                  <a:cubicBezTo>
                    <a:pt x="8668" y="113"/>
                    <a:pt x="7456" y="0"/>
                    <a:pt x="6390" y="0"/>
                  </a:cubicBezTo>
                  <a:cubicBezTo>
                    <a:pt x="4936" y="0"/>
                    <a:pt x="3757" y="226"/>
                    <a:pt x="2739" y="662"/>
                  </a:cubicBezTo>
                  <a:cubicBezTo>
                    <a:pt x="1188" y="1341"/>
                    <a:pt x="-266" y="3101"/>
                    <a:pt x="41" y="4636"/>
                  </a:cubicBezTo>
                  <a:cubicBezTo>
                    <a:pt x="332" y="6042"/>
                    <a:pt x="1948" y="7350"/>
                    <a:pt x="3450" y="8465"/>
                  </a:cubicBezTo>
                  <a:cubicBezTo>
                    <a:pt x="7295" y="11324"/>
                    <a:pt x="11301" y="14022"/>
                    <a:pt x="15388" y="16493"/>
                  </a:cubicBezTo>
                  <a:cubicBezTo>
                    <a:pt x="17084" y="17527"/>
                    <a:pt x="18748" y="18464"/>
                    <a:pt x="20396" y="18723"/>
                  </a:cubicBezTo>
                  <a:cubicBezTo>
                    <a:pt x="22253" y="18286"/>
                    <a:pt x="27083" y="14636"/>
                    <a:pt x="27810" y="12907"/>
                  </a:cubicBezTo>
                  <a:cubicBezTo>
                    <a:pt x="26033" y="9337"/>
                    <a:pt x="24353" y="7915"/>
                    <a:pt x="22043" y="599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2" name="Free-form: Shape 311">
              <a:extLst>
                <a:ext uri="{FF2B5EF4-FFF2-40B4-BE49-F238E27FC236}">
                  <a16:creationId xmlns:a16="http://schemas.microsoft.com/office/drawing/2014/main" id="{3A1E7504-5D04-B18E-E55F-475E7C5AC3A8}"/>
                </a:ext>
              </a:extLst>
            </p:cNvPr>
            <p:cNvSpPr/>
            <p:nvPr/>
          </p:nvSpPr>
          <p:spPr>
            <a:xfrm>
              <a:off x="4965640" y="5191113"/>
              <a:ext cx="12722" cy="17738"/>
            </a:xfrm>
            <a:custGeom>
              <a:avLst/>
              <a:gdLst>
                <a:gd name="connsiteX0" fmla="*/ 7319 w 12722"/>
                <a:gd name="connsiteY0" fmla="*/ 16 h 17738"/>
                <a:gd name="connsiteX1" fmla="*/ 6301 w 12722"/>
                <a:gd name="connsiteY1" fmla="*/ 243 h 17738"/>
                <a:gd name="connsiteX2" fmla="*/ 2634 w 12722"/>
                <a:gd name="connsiteY2" fmla="*/ 5153 h 17738"/>
                <a:gd name="connsiteX3" fmla="*/ 1 w 12722"/>
                <a:gd name="connsiteY3" fmla="*/ 13279 h 17738"/>
                <a:gd name="connsiteX4" fmla="*/ 3022 w 12722"/>
                <a:gd name="connsiteY4" fmla="*/ 17721 h 17738"/>
                <a:gd name="connsiteX5" fmla="*/ 8385 w 12722"/>
                <a:gd name="connsiteY5" fmla="*/ 14216 h 17738"/>
                <a:gd name="connsiteX6" fmla="*/ 12391 w 12722"/>
                <a:gd name="connsiteY6" fmla="*/ 6979 h 17738"/>
                <a:gd name="connsiteX7" fmla="*/ 12472 w 12722"/>
                <a:gd name="connsiteY7" fmla="*/ 6429 h 17738"/>
                <a:gd name="connsiteX8" fmla="*/ 11988 w 12722"/>
                <a:gd name="connsiteY8" fmla="*/ 2246 h 17738"/>
                <a:gd name="connsiteX9" fmla="*/ 7351 w 12722"/>
                <a:gd name="connsiteY9" fmla="*/ 0 h 17738"/>
                <a:gd name="connsiteX10" fmla="*/ 7319 w 12722"/>
                <a:gd name="connsiteY10" fmla="*/ 16 h 1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22" h="17738">
                  <a:moveTo>
                    <a:pt x="7319" y="16"/>
                  </a:moveTo>
                  <a:cubicBezTo>
                    <a:pt x="6931" y="16"/>
                    <a:pt x="6592" y="81"/>
                    <a:pt x="6301" y="243"/>
                  </a:cubicBezTo>
                  <a:cubicBezTo>
                    <a:pt x="4783" y="1002"/>
                    <a:pt x="3733" y="2924"/>
                    <a:pt x="2634" y="5153"/>
                  </a:cubicBezTo>
                  <a:cubicBezTo>
                    <a:pt x="1374" y="7689"/>
                    <a:pt x="-47" y="10581"/>
                    <a:pt x="1" y="13279"/>
                  </a:cubicBezTo>
                  <a:cubicBezTo>
                    <a:pt x="33" y="15218"/>
                    <a:pt x="1294" y="17527"/>
                    <a:pt x="3022" y="17721"/>
                  </a:cubicBezTo>
                  <a:cubicBezTo>
                    <a:pt x="4460" y="17899"/>
                    <a:pt x="6237" y="16736"/>
                    <a:pt x="8385" y="14216"/>
                  </a:cubicBezTo>
                  <a:cubicBezTo>
                    <a:pt x="10162" y="12132"/>
                    <a:pt x="12020" y="9644"/>
                    <a:pt x="12391" y="6979"/>
                  </a:cubicBezTo>
                  <a:lnTo>
                    <a:pt x="12472" y="6429"/>
                  </a:lnTo>
                  <a:cubicBezTo>
                    <a:pt x="12844" y="3845"/>
                    <a:pt x="12892" y="3457"/>
                    <a:pt x="11988" y="2246"/>
                  </a:cubicBezTo>
                  <a:cubicBezTo>
                    <a:pt x="10308" y="808"/>
                    <a:pt x="8628" y="0"/>
                    <a:pt x="7351" y="0"/>
                  </a:cubicBezTo>
                  <a:lnTo>
                    <a:pt x="7319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3" name="Free-form: Shape 312">
              <a:extLst>
                <a:ext uri="{FF2B5EF4-FFF2-40B4-BE49-F238E27FC236}">
                  <a16:creationId xmlns:a16="http://schemas.microsoft.com/office/drawing/2014/main" id="{DA8145FA-3C6E-BBAA-3873-58B501EFCFF7}"/>
                </a:ext>
              </a:extLst>
            </p:cNvPr>
            <p:cNvSpPr/>
            <p:nvPr/>
          </p:nvSpPr>
          <p:spPr>
            <a:xfrm>
              <a:off x="4886388" y="4831065"/>
              <a:ext cx="42569" cy="26962"/>
            </a:xfrm>
            <a:custGeom>
              <a:avLst/>
              <a:gdLst>
                <a:gd name="connsiteX0" fmla="*/ 38803 w 42569"/>
                <a:gd name="connsiteY0" fmla="*/ 68 h 26962"/>
                <a:gd name="connsiteX1" fmla="*/ 29579 w 42569"/>
                <a:gd name="connsiteY1" fmla="*/ 6287 h 26962"/>
                <a:gd name="connsiteX2" fmla="*/ 28092 w 42569"/>
                <a:gd name="connsiteY2" fmla="*/ 8226 h 26962"/>
                <a:gd name="connsiteX3" fmla="*/ 17156 w 42569"/>
                <a:gd name="connsiteY3" fmla="*/ 13282 h 26962"/>
                <a:gd name="connsiteX4" fmla="*/ 16154 w 42569"/>
                <a:gd name="connsiteY4" fmla="*/ 12717 h 26962"/>
                <a:gd name="connsiteX5" fmla="*/ 5396 w 42569"/>
                <a:gd name="connsiteY5" fmla="*/ 5754 h 26962"/>
                <a:gd name="connsiteX6" fmla="*/ 2811 w 42569"/>
                <a:gd name="connsiteY6" fmla="*/ 4931 h 26962"/>
                <a:gd name="connsiteX7" fmla="*/ 2763 w 42569"/>
                <a:gd name="connsiteY7" fmla="*/ 4931 h 26962"/>
                <a:gd name="connsiteX8" fmla="*/ 1147 w 42569"/>
                <a:gd name="connsiteY8" fmla="*/ 5803 h 26962"/>
                <a:gd name="connsiteX9" fmla="*/ 32 w 42569"/>
                <a:gd name="connsiteY9" fmla="*/ 9502 h 26962"/>
                <a:gd name="connsiteX10" fmla="*/ 4459 w 42569"/>
                <a:gd name="connsiteY10" fmla="*/ 17450 h 26962"/>
                <a:gd name="connsiteX11" fmla="*/ 19644 w 42569"/>
                <a:gd name="connsiteY11" fmla="*/ 26723 h 26962"/>
                <a:gd name="connsiteX12" fmla="*/ 24490 w 42569"/>
                <a:gd name="connsiteY12" fmla="*/ 24073 h 26962"/>
                <a:gd name="connsiteX13" fmla="*/ 32228 w 42569"/>
                <a:gd name="connsiteY13" fmla="*/ 18759 h 26962"/>
                <a:gd name="connsiteX14" fmla="*/ 42066 w 42569"/>
                <a:gd name="connsiteY14" fmla="*/ 8888 h 26962"/>
                <a:gd name="connsiteX15" fmla="*/ 41630 w 42569"/>
                <a:gd name="connsiteY15" fmla="*/ 2297 h 26962"/>
                <a:gd name="connsiteX16" fmla="*/ 38819 w 42569"/>
                <a:gd name="connsiteY16" fmla="*/ 68 h 26962"/>
                <a:gd name="connsiteX17" fmla="*/ 38803 w 42569"/>
                <a:gd name="connsiteY17" fmla="*/ 68 h 2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569" h="26962">
                  <a:moveTo>
                    <a:pt x="38803" y="68"/>
                  </a:moveTo>
                  <a:cubicBezTo>
                    <a:pt x="35669" y="-513"/>
                    <a:pt x="32502" y="2717"/>
                    <a:pt x="29579" y="6287"/>
                  </a:cubicBezTo>
                  <a:cubicBezTo>
                    <a:pt x="29045" y="6950"/>
                    <a:pt x="28561" y="7596"/>
                    <a:pt x="28092" y="8226"/>
                  </a:cubicBezTo>
                  <a:cubicBezTo>
                    <a:pt x="25798" y="11295"/>
                    <a:pt x="22955" y="15124"/>
                    <a:pt x="17156" y="13282"/>
                  </a:cubicBezTo>
                  <a:cubicBezTo>
                    <a:pt x="16784" y="13169"/>
                    <a:pt x="16445" y="12975"/>
                    <a:pt x="16154" y="12717"/>
                  </a:cubicBezTo>
                  <a:cubicBezTo>
                    <a:pt x="12891" y="9938"/>
                    <a:pt x="9273" y="7580"/>
                    <a:pt x="5396" y="5754"/>
                  </a:cubicBezTo>
                  <a:cubicBezTo>
                    <a:pt x="4539" y="5351"/>
                    <a:pt x="3586" y="4931"/>
                    <a:pt x="2811" y="4931"/>
                  </a:cubicBezTo>
                  <a:lnTo>
                    <a:pt x="2763" y="4931"/>
                  </a:lnTo>
                  <a:cubicBezTo>
                    <a:pt x="2181" y="4931"/>
                    <a:pt x="1648" y="5238"/>
                    <a:pt x="1147" y="5803"/>
                  </a:cubicBezTo>
                  <a:cubicBezTo>
                    <a:pt x="323" y="6756"/>
                    <a:pt x="-129" y="8242"/>
                    <a:pt x="32" y="9502"/>
                  </a:cubicBezTo>
                  <a:cubicBezTo>
                    <a:pt x="356" y="12168"/>
                    <a:pt x="2149" y="14575"/>
                    <a:pt x="4459" y="17450"/>
                  </a:cubicBezTo>
                  <a:cubicBezTo>
                    <a:pt x="10468" y="24930"/>
                    <a:pt x="15298" y="27870"/>
                    <a:pt x="19644" y="26723"/>
                  </a:cubicBezTo>
                  <a:cubicBezTo>
                    <a:pt x="21291" y="26286"/>
                    <a:pt x="22923" y="25156"/>
                    <a:pt x="24490" y="24073"/>
                  </a:cubicBezTo>
                  <a:lnTo>
                    <a:pt x="32228" y="18759"/>
                  </a:lnTo>
                  <a:cubicBezTo>
                    <a:pt x="36686" y="15689"/>
                    <a:pt x="40499" y="12830"/>
                    <a:pt x="42066" y="8888"/>
                  </a:cubicBezTo>
                  <a:cubicBezTo>
                    <a:pt x="42873" y="6869"/>
                    <a:pt x="42696" y="4220"/>
                    <a:pt x="41630" y="2297"/>
                  </a:cubicBezTo>
                  <a:cubicBezTo>
                    <a:pt x="41145" y="1425"/>
                    <a:pt x="40273" y="327"/>
                    <a:pt x="38819" y="68"/>
                  </a:cubicBezTo>
                  <a:lnTo>
                    <a:pt x="38803" y="6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4" name="Free-form: Shape 313">
              <a:extLst>
                <a:ext uri="{FF2B5EF4-FFF2-40B4-BE49-F238E27FC236}">
                  <a16:creationId xmlns:a16="http://schemas.microsoft.com/office/drawing/2014/main" id="{4655126F-82A0-0FCC-2198-C678C918D4AD}"/>
                </a:ext>
              </a:extLst>
            </p:cNvPr>
            <p:cNvSpPr/>
            <p:nvPr/>
          </p:nvSpPr>
          <p:spPr>
            <a:xfrm>
              <a:off x="6563896" y="4866817"/>
              <a:ext cx="20692" cy="18622"/>
            </a:xfrm>
            <a:custGeom>
              <a:avLst/>
              <a:gdLst>
                <a:gd name="connsiteX0" fmla="*/ 10865 w 20692"/>
                <a:gd name="connsiteY0" fmla="*/ 533 h 18622"/>
                <a:gd name="connsiteX1" fmla="*/ 7456 w 20692"/>
                <a:gd name="connsiteY1" fmla="*/ 0 h 18622"/>
                <a:gd name="connsiteX2" fmla="*/ 3289 w 20692"/>
                <a:gd name="connsiteY2" fmla="*/ 1066 h 18622"/>
                <a:gd name="connsiteX3" fmla="*/ 365 w 20692"/>
                <a:gd name="connsiteY3" fmla="*/ 10145 h 18622"/>
                <a:gd name="connsiteX4" fmla="*/ 8248 w 20692"/>
                <a:gd name="connsiteY4" fmla="*/ 17867 h 18622"/>
                <a:gd name="connsiteX5" fmla="*/ 15598 w 20692"/>
                <a:gd name="connsiteY5" fmla="*/ 17608 h 18622"/>
                <a:gd name="connsiteX6" fmla="*/ 17634 w 20692"/>
                <a:gd name="connsiteY6" fmla="*/ 16106 h 18622"/>
                <a:gd name="connsiteX7" fmla="*/ 20574 w 20692"/>
                <a:gd name="connsiteY7" fmla="*/ 11421 h 18622"/>
                <a:gd name="connsiteX8" fmla="*/ 10865 w 20692"/>
                <a:gd name="connsiteY8" fmla="*/ 517 h 18622"/>
                <a:gd name="connsiteX9" fmla="*/ 10865 w 20692"/>
                <a:gd name="connsiteY9" fmla="*/ 533 h 18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92" h="18622">
                  <a:moveTo>
                    <a:pt x="10865" y="533"/>
                  </a:moveTo>
                  <a:cubicBezTo>
                    <a:pt x="9718" y="178"/>
                    <a:pt x="8555" y="0"/>
                    <a:pt x="7456" y="0"/>
                  </a:cubicBezTo>
                  <a:cubicBezTo>
                    <a:pt x="5889" y="0"/>
                    <a:pt x="4435" y="355"/>
                    <a:pt x="3289" y="1066"/>
                  </a:cubicBezTo>
                  <a:cubicBezTo>
                    <a:pt x="607" y="2730"/>
                    <a:pt x="-685" y="6720"/>
                    <a:pt x="365" y="10145"/>
                  </a:cubicBezTo>
                  <a:cubicBezTo>
                    <a:pt x="1398" y="13505"/>
                    <a:pt x="4338" y="16397"/>
                    <a:pt x="8248" y="17867"/>
                  </a:cubicBezTo>
                  <a:cubicBezTo>
                    <a:pt x="10526" y="18723"/>
                    <a:pt x="13643" y="19111"/>
                    <a:pt x="15598" y="17608"/>
                  </a:cubicBezTo>
                  <a:cubicBezTo>
                    <a:pt x="16309" y="17059"/>
                    <a:pt x="17003" y="16558"/>
                    <a:pt x="17634" y="16106"/>
                  </a:cubicBezTo>
                  <a:cubicBezTo>
                    <a:pt x="20574" y="14006"/>
                    <a:pt x="20945" y="13650"/>
                    <a:pt x="20574" y="11421"/>
                  </a:cubicBezTo>
                  <a:cubicBezTo>
                    <a:pt x="19637" y="6413"/>
                    <a:pt x="15727" y="2035"/>
                    <a:pt x="10865" y="517"/>
                  </a:cubicBezTo>
                  <a:lnTo>
                    <a:pt x="10865" y="53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5" name="Free-form: Shape 314">
              <a:extLst>
                <a:ext uri="{FF2B5EF4-FFF2-40B4-BE49-F238E27FC236}">
                  <a16:creationId xmlns:a16="http://schemas.microsoft.com/office/drawing/2014/main" id="{B7D4CD00-A11E-8312-1AE1-5F37B784A2D4}"/>
                </a:ext>
              </a:extLst>
            </p:cNvPr>
            <p:cNvSpPr/>
            <p:nvPr/>
          </p:nvSpPr>
          <p:spPr>
            <a:xfrm>
              <a:off x="5389113" y="3365036"/>
              <a:ext cx="49295" cy="28501"/>
            </a:xfrm>
            <a:custGeom>
              <a:avLst/>
              <a:gdLst>
                <a:gd name="connsiteX0" fmla="*/ 44580 w 49295"/>
                <a:gd name="connsiteY0" fmla="*/ 10894 h 28501"/>
                <a:gd name="connsiteX1" fmla="*/ 40719 w 49295"/>
                <a:gd name="connsiteY1" fmla="*/ 8729 h 28501"/>
                <a:gd name="connsiteX2" fmla="*/ 37520 w 49295"/>
                <a:gd name="connsiteY2" fmla="*/ 5078 h 28501"/>
                <a:gd name="connsiteX3" fmla="*/ 36276 w 49295"/>
                <a:gd name="connsiteY3" fmla="*/ 3414 h 28501"/>
                <a:gd name="connsiteX4" fmla="*/ 27278 w 49295"/>
                <a:gd name="connsiteY4" fmla="*/ 119 h 28501"/>
                <a:gd name="connsiteX5" fmla="*/ 19767 w 49295"/>
                <a:gd name="connsiteY5" fmla="*/ 6080 h 28501"/>
                <a:gd name="connsiteX6" fmla="*/ 19088 w 49295"/>
                <a:gd name="connsiteY6" fmla="*/ 8099 h 28501"/>
                <a:gd name="connsiteX7" fmla="*/ 17166 w 49295"/>
                <a:gd name="connsiteY7" fmla="*/ 12654 h 28501"/>
                <a:gd name="connsiteX8" fmla="*/ 7829 w 49295"/>
                <a:gd name="connsiteY8" fmla="*/ 18615 h 28501"/>
                <a:gd name="connsiteX9" fmla="*/ 7457 w 49295"/>
                <a:gd name="connsiteY9" fmla="*/ 18728 h 28501"/>
                <a:gd name="connsiteX10" fmla="*/ 899 w 49295"/>
                <a:gd name="connsiteY10" fmla="*/ 22008 h 28501"/>
                <a:gd name="connsiteX11" fmla="*/ 26 w 49295"/>
                <a:gd name="connsiteY11" fmla="*/ 24835 h 28501"/>
                <a:gd name="connsiteX12" fmla="*/ 543 w 49295"/>
                <a:gd name="connsiteY12" fmla="*/ 25820 h 28501"/>
                <a:gd name="connsiteX13" fmla="*/ 2659 w 49295"/>
                <a:gd name="connsiteY13" fmla="*/ 26240 h 28501"/>
                <a:gd name="connsiteX14" fmla="*/ 14113 w 49295"/>
                <a:gd name="connsiteY14" fmla="*/ 24996 h 28501"/>
                <a:gd name="connsiteX15" fmla="*/ 16164 w 49295"/>
                <a:gd name="connsiteY15" fmla="*/ 24366 h 28501"/>
                <a:gd name="connsiteX16" fmla="*/ 23902 w 49295"/>
                <a:gd name="connsiteY16" fmla="*/ 22799 h 28501"/>
                <a:gd name="connsiteX17" fmla="*/ 23999 w 49295"/>
                <a:gd name="connsiteY17" fmla="*/ 22799 h 28501"/>
                <a:gd name="connsiteX18" fmla="*/ 34968 w 49295"/>
                <a:gd name="connsiteY18" fmla="*/ 25965 h 28501"/>
                <a:gd name="connsiteX19" fmla="*/ 38296 w 49295"/>
                <a:gd name="connsiteY19" fmla="*/ 27419 h 28501"/>
                <a:gd name="connsiteX20" fmla="*/ 48134 w 49295"/>
                <a:gd name="connsiteY20" fmla="*/ 26805 h 28501"/>
                <a:gd name="connsiteX21" fmla="*/ 46502 w 49295"/>
                <a:gd name="connsiteY21" fmla="*/ 11863 h 28501"/>
                <a:gd name="connsiteX22" fmla="*/ 44547 w 49295"/>
                <a:gd name="connsiteY22" fmla="*/ 10910 h 28501"/>
                <a:gd name="connsiteX23" fmla="*/ 44580 w 49295"/>
                <a:gd name="connsiteY23" fmla="*/ 10894 h 2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9295" h="28501">
                  <a:moveTo>
                    <a:pt x="44580" y="10894"/>
                  </a:moveTo>
                  <a:cubicBezTo>
                    <a:pt x="43352" y="10344"/>
                    <a:pt x="41979" y="9730"/>
                    <a:pt x="40719" y="8729"/>
                  </a:cubicBezTo>
                  <a:cubicBezTo>
                    <a:pt x="39346" y="7630"/>
                    <a:pt x="38376" y="6273"/>
                    <a:pt x="37520" y="5078"/>
                  </a:cubicBezTo>
                  <a:cubicBezTo>
                    <a:pt x="37116" y="4513"/>
                    <a:pt x="36713" y="3947"/>
                    <a:pt x="36276" y="3414"/>
                  </a:cubicBezTo>
                  <a:cubicBezTo>
                    <a:pt x="34112" y="878"/>
                    <a:pt x="30558" y="-414"/>
                    <a:pt x="27278" y="119"/>
                  </a:cubicBezTo>
                  <a:cubicBezTo>
                    <a:pt x="23983" y="652"/>
                    <a:pt x="21043" y="2994"/>
                    <a:pt x="19767" y="6080"/>
                  </a:cubicBezTo>
                  <a:cubicBezTo>
                    <a:pt x="19492" y="6726"/>
                    <a:pt x="19298" y="7420"/>
                    <a:pt x="19088" y="8099"/>
                  </a:cubicBezTo>
                  <a:cubicBezTo>
                    <a:pt x="18652" y="9537"/>
                    <a:pt x="18151" y="11152"/>
                    <a:pt x="17166" y="12654"/>
                  </a:cubicBezTo>
                  <a:cubicBezTo>
                    <a:pt x="15017" y="15934"/>
                    <a:pt x="11415" y="17452"/>
                    <a:pt x="7829" y="18615"/>
                  </a:cubicBezTo>
                  <a:lnTo>
                    <a:pt x="7457" y="18728"/>
                  </a:lnTo>
                  <a:cubicBezTo>
                    <a:pt x="4840" y="19568"/>
                    <a:pt x="2369" y="20376"/>
                    <a:pt x="899" y="22008"/>
                  </a:cubicBezTo>
                  <a:cubicBezTo>
                    <a:pt x="253" y="22718"/>
                    <a:pt x="-103" y="23882"/>
                    <a:pt x="26" y="24835"/>
                  </a:cubicBezTo>
                  <a:cubicBezTo>
                    <a:pt x="91" y="25319"/>
                    <a:pt x="269" y="25642"/>
                    <a:pt x="543" y="25820"/>
                  </a:cubicBezTo>
                  <a:cubicBezTo>
                    <a:pt x="996" y="26111"/>
                    <a:pt x="1868" y="26192"/>
                    <a:pt x="2659" y="26240"/>
                  </a:cubicBezTo>
                  <a:cubicBezTo>
                    <a:pt x="6536" y="26482"/>
                    <a:pt x="10381" y="26062"/>
                    <a:pt x="14113" y="24996"/>
                  </a:cubicBezTo>
                  <a:cubicBezTo>
                    <a:pt x="14807" y="24802"/>
                    <a:pt x="15486" y="24592"/>
                    <a:pt x="16164" y="24366"/>
                  </a:cubicBezTo>
                  <a:cubicBezTo>
                    <a:pt x="18604" y="23607"/>
                    <a:pt x="21108" y="22815"/>
                    <a:pt x="23902" y="22799"/>
                  </a:cubicBezTo>
                  <a:lnTo>
                    <a:pt x="23999" y="22799"/>
                  </a:lnTo>
                  <a:cubicBezTo>
                    <a:pt x="28054" y="22799"/>
                    <a:pt x="31575" y="24415"/>
                    <a:pt x="34968" y="25965"/>
                  </a:cubicBezTo>
                  <a:cubicBezTo>
                    <a:pt x="36066" y="26466"/>
                    <a:pt x="37181" y="26983"/>
                    <a:pt x="38296" y="27419"/>
                  </a:cubicBezTo>
                  <a:cubicBezTo>
                    <a:pt x="41785" y="28792"/>
                    <a:pt x="46179" y="29132"/>
                    <a:pt x="48134" y="26805"/>
                  </a:cubicBezTo>
                  <a:cubicBezTo>
                    <a:pt x="50379" y="24108"/>
                    <a:pt x="49119" y="16548"/>
                    <a:pt x="46502" y="11863"/>
                  </a:cubicBezTo>
                  <a:cubicBezTo>
                    <a:pt x="45920" y="11524"/>
                    <a:pt x="45242" y="11217"/>
                    <a:pt x="44547" y="10910"/>
                  </a:cubicBezTo>
                  <a:lnTo>
                    <a:pt x="44580" y="1089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6" name="Free-form: Shape 315">
              <a:extLst>
                <a:ext uri="{FF2B5EF4-FFF2-40B4-BE49-F238E27FC236}">
                  <a16:creationId xmlns:a16="http://schemas.microsoft.com/office/drawing/2014/main" id="{1C91C8C2-57D2-4334-4A0F-6704C70222F8}"/>
                </a:ext>
              </a:extLst>
            </p:cNvPr>
            <p:cNvSpPr/>
            <p:nvPr/>
          </p:nvSpPr>
          <p:spPr>
            <a:xfrm>
              <a:off x="5351935" y="2707838"/>
              <a:ext cx="12216" cy="12223"/>
            </a:xfrm>
            <a:custGeom>
              <a:avLst/>
              <a:gdLst>
                <a:gd name="connsiteX0" fmla="*/ 4088 w 12216"/>
                <a:gd name="connsiteY0" fmla="*/ 10775 h 12223"/>
                <a:gd name="connsiteX1" fmla="*/ 10970 w 12216"/>
                <a:gd name="connsiteY1" fmla="*/ 11405 h 12223"/>
                <a:gd name="connsiteX2" fmla="*/ 11519 w 12216"/>
                <a:gd name="connsiteY2" fmla="*/ 5169 h 12223"/>
                <a:gd name="connsiteX3" fmla="*/ 11180 w 12216"/>
                <a:gd name="connsiteY3" fmla="*/ 4459 h 12223"/>
                <a:gd name="connsiteX4" fmla="*/ 8546 w 12216"/>
                <a:gd name="connsiteY4" fmla="*/ 1308 h 12223"/>
                <a:gd name="connsiteX5" fmla="*/ 8385 w 12216"/>
                <a:gd name="connsiteY5" fmla="*/ 1179 h 12223"/>
                <a:gd name="connsiteX6" fmla="*/ 5025 w 12216"/>
                <a:gd name="connsiteY6" fmla="*/ 0 h 12223"/>
                <a:gd name="connsiteX7" fmla="*/ 2715 w 12216"/>
                <a:gd name="connsiteY7" fmla="*/ 614 h 12223"/>
                <a:gd name="connsiteX8" fmla="*/ 1 w 12216"/>
                <a:gd name="connsiteY8" fmla="*/ 4006 h 12223"/>
                <a:gd name="connsiteX9" fmla="*/ 4104 w 12216"/>
                <a:gd name="connsiteY9" fmla="*/ 10775 h 12223"/>
                <a:gd name="connsiteX10" fmla="*/ 4088 w 12216"/>
                <a:gd name="connsiteY10" fmla="*/ 10775 h 1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16" h="12223">
                  <a:moveTo>
                    <a:pt x="4088" y="10775"/>
                  </a:moveTo>
                  <a:cubicBezTo>
                    <a:pt x="6139" y="12180"/>
                    <a:pt x="9241" y="12875"/>
                    <a:pt x="10970" y="11405"/>
                  </a:cubicBezTo>
                  <a:cubicBezTo>
                    <a:pt x="12553" y="10048"/>
                    <a:pt x="12504" y="7172"/>
                    <a:pt x="11519" y="5169"/>
                  </a:cubicBezTo>
                  <a:lnTo>
                    <a:pt x="11180" y="4459"/>
                  </a:lnTo>
                  <a:cubicBezTo>
                    <a:pt x="10619" y="3296"/>
                    <a:pt x="9742" y="2245"/>
                    <a:pt x="8546" y="1308"/>
                  </a:cubicBezTo>
                  <a:lnTo>
                    <a:pt x="8385" y="1179"/>
                  </a:lnTo>
                  <a:cubicBezTo>
                    <a:pt x="7238" y="388"/>
                    <a:pt x="6123" y="0"/>
                    <a:pt x="5025" y="0"/>
                  </a:cubicBezTo>
                  <a:cubicBezTo>
                    <a:pt x="4233" y="0"/>
                    <a:pt x="3458" y="210"/>
                    <a:pt x="2715" y="614"/>
                  </a:cubicBezTo>
                  <a:cubicBezTo>
                    <a:pt x="905" y="1599"/>
                    <a:pt x="-31" y="3360"/>
                    <a:pt x="1" y="4006"/>
                  </a:cubicBezTo>
                  <a:cubicBezTo>
                    <a:pt x="98" y="6494"/>
                    <a:pt x="1665" y="9095"/>
                    <a:pt x="4104" y="10775"/>
                  </a:cubicBezTo>
                  <a:lnTo>
                    <a:pt x="4088" y="1077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7" name="Free-form: Shape 316">
              <a:extLst>
                <a:ext uri="{FF2B5EF4-FFF2-40B4-BE49-F238E27FC236}">
                  <a16:creationId xmlns:a16="http://schemas.microsoft.com/office/drawing/2014/main" id="{FA70C944-810B-4197-9EF7-70EFA7616D27}"/>
                </a:ext>
              </a:extLst>
            </p:cNvPr>
            <p:cNvSpPr/>
            <p:nvPr/>
          </p:nvSpPr>
          <p:spPr>
            <a:xfrm>
              <a:off x="5384503" y="3870184"/>
              <a:ext cx="12526" cy="11499"/>
            </a:xfrm>
            <a:custGeom>
              <a:avLst/>
              <a:gdLst>
                <a:gd name="connsiteX0" fmla="*/ 9386 w 12526"/>
                <a:gd name="connsiteY0" fmla="*/ 10823 h 11499"/>
                <a:gd name="connsiteX1" fmla="*/ 12520 w 12526"/>
                <a:gd name="connsiteY1" fmla="*/ 6429 h 11499"/>
                <a:gd name="connsiteX2" fmla="*/ 9886 w 12526"/>
                <a:gd name="connsiteY2" fmla="*/ 1777 h 11499"/>
                <a:gd name="connsiteX3" fmla="*/ 9854 w 12526"/>
                <a:gd name="connsiteY3" fmla="*/ 1777 h 11499"/>
                <a:gd name="connsiteX4" fmla="*/ 4701 w 12526"/>
                <a:gd name="connsiteY4" fmla="*/ 0 h 11499"/>
                <a:gd name="connsiteX5" fmla="*/ 1696 w 12526"/>
                <a:gd name="connsiteY5" fmla="*/ 1115 h 11499"/>
                <a:gd name="connsiteX6" fmla="*/ 1179 w 12526"/>
                <a:gd name="connsiteY6" fmla="*/ 9079 h 11499"/>
                <a:gd name="connsiteX7" fmla="*/ 9369 w 12526"/>
                <a:gd name="connsiteY7" fmla="*/ 10839 h 11499"/>
                <a:gd name="connsiteX8" fmla="*/ 9386 w 12526"/>
                <a:gd name="connsiteY8" fmla="*/ 10823 h 1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26" h="11499">
                  <a:moveTo>
                    <a:pt x="9386" y="10823"/>
                  </a:moveTo>
                  <a:cubicBezTo>
                    <a:pt x="11276" y="9886"/>
                    <a:pt x="12423" y="8287"/>
                    <a:pt x="12520" y="6429"/>
                  </a:cubicBezTo>
                  <a:cubicBezTo>
                    <a:pt x="12616" y="4588"/>
                    <a:pt x="11663" y="2892"/>
                    <a:pt x="9886" y="1777"/>
                  </a:cubicBezTo>
                  <a:cubicBezTo>
                    <a:pt x="9886" y="1777"/>
                    <a:pt x="9870" y="1777"/>
                    <a:pt x="9854" y="1777"/>
                  </a:cubicBezTo>
                  <a:cubicBezTo>
                    <a:pt x="8319" y="775"/>
                    <a:pt x="6429" y="0"/>
                    <a:pt x="4701" y="0"/>
                  </a:cubicBezTo>
                  <a:cubicBezTo>
                    <a:pt x="3586" y="0"/>
                    <a:pt x="2552" y="323"/>
                    <a:pt x="1696" y="1115"/>
                  </a:cubicBezTo>
                  <a:cubicBezTo>
                    <a:pt x="-339" y="3021"/>
                    <a:pt x="-581" y="6817"/>
                    <a:pt x="1179" y="9079"/>
                  </a:cubicBezTo>
                  <a:cubicBezTo>
                    <a:pt x="2972" y="11389"/>
                    <a:pt x="6656" y="12197"/>
                    <a:pt x="9369" y="10839"/>
                  </a:cubicBezTo>
                  <a:lnTo>
                    <a:pt x="9386" y="1082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8" name="Free-form: Shape 317">
              <a:extLst>
                <a:ext uri="{FF2B5EF4-FFF2-40B4-BE49-F238E27FC236}">
                  <a16:creationId xmlns:a16="http://schemas.microsoft.com/office/drawing/2014/main" id="{AA44959C-E897-0576-C3FC-ECB9AFC2EA8A}"/>
                </a:ext>
              </a:extLst>
            </p:cNvPr>
            <p:cNvSpPr/>
            <p:nvPr/>
          </p:nvSpPr>
          <p:spPr>
            <a:xfrm>
              <a:off x="5173821" y="3946012"/>
              <a:ext cx="11338" cy="16234"/>
            </a:xfrm>
            <a:custGeom>
              <a:avLst/>
              <a:gdLst>
                <a:gd name="connsiteX0" fmla="*/ 5734 w 11338"/>
                <a:gd name="connsiteY0" fmla="*/ 0 h 16234"/>
                <a:gd name="connsiteX1" fmla="*/ 613 w 11338"/>
                <a:gd name="connsiteY1" fmla="*/ 3764 h 16234"/>
                <a:gd name="connsiteX2" fmla="*/ 371 w 11338"/>
                <a:gd name="connsiteY2" fmla="*/ 12261 h 16234"/>
                <a:gd name="connsiteX3" fmla="*/ 4458 w 11338"/>
                <a:gd name="connsiteY3" fmla="*/ 16235 h 16234"/>
                <a:gd name="connsiteX4" fmla="*/ 10580 w 11338"/>
                <a:gd name="connsiteY4" fmla="*/ 8384 h 16234"/>
                <a:gd name="connsiteX5" fmla="*/ 11259 w 11338"/>
                <a:gd name="connsiteY5" fmla="*/ 4475 h 16234"/>
                <a:gd name="connsiteX6" fmla="*/ 5734 w 11338"/>
                <a:gd name="connsiteY6" fmla="*/ 16 h 16234"/>
                <a:gd name="connsiteX7" fmla="*/ 5734 w 11338"/>
                <a:gd name="connsiteY7" fmla="*/ 0 h 1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" h="16234">
                  <a:moveTo>
                    <a:pt x="5734" y="0"/>
                  </a:moveTo>
                  <a:cubicBezTo>
                    <a:pt x="5734" y="0"/>
                    <a:pt x="1372" y="178"/>
                    <a:pt x="613" y="3764"/>
                  </a:cubicBezTo>
                  <a:cubicBezTo>
                    <a:pt x="128" y="6672"/>
                    <a:pt x="-356" y="9660"/>
                    <a:pt x="371" y="12261"/>
                  </a:cubicBezTo>
                  <a:cubicBezTo>
                    <a:pt x="904" y="14216"/>
                    <a:pt x="2584" y="16235"/>
                    <a:pt x="4458" y="16235"/>
                  </a:cubicBezTo>
                  <a:cubicBezTo>
                    <a:pt x="7333" y="16235"/>
                    <a:pt x="9385" y="11970"/>
                    <a:pt x="10580" y="8384"/>
                  </a:cubicBezTo>
                  <a:cubicBezTo>
                    <a:pt x="11113" y="6817"/>
                    <a:pt x="11517" y="5444"/>
                    <a:pt x="11259" y="4475"/>
                  </a:cubicBezTo>
                  <a:cubicBezTo>
                    <a:pt x="10451" y="1454"/>
                    <a:pt x="8545" y="-129"/>
                    <a:pt x="5734" y="16"/>
                  </a:cubicBezTo>
                  <a:lnTo>
                    <a:pt x="5734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9" name="Free-form: Shape 318">
              <a:extLst>
                <a:ext uri="{FF2B5EF4-FFF2-40B4-BE49-F238E27FC236}">
                  <a16:creationId xmlns:a16="http://schemas.microsoft.com/office/drawing/2014/main" id="{431FF14A-B5C2-1B8B-D765-185E8E04BD75}"/>
                </a:ext>
              </a:extLst>
            </p:cNvPr>
            <p:cNvSpPr/>
            <p:nvPr/>
          </p:nvSpPr>
          <p:spPr>
            <a:xfrm>
              <a:off x="6397243" y="2846655"/>
              <a:ext cx="1177381" cy="1339676"/>
            </a:xfrm>
            <a:custGeom>
              <a:avLst/>
              <a:gdLst>
                <a:gd name="connsiteX0" fmla="*/ 1167933 w 1177381"/>
                <a:gd name="connsiteY0" fmla="*/ 886929 h 1339676"/>
                <a:gd name="connsiteX1" fmla="*/ 1159630 w 1177381"/>
                <a:gd name="connsiteY1" fmla="*/ 897090 h 1339676"/>
                <a:gd name="connsiteX2" fmla="*/ 1137385 w 1177381"/>
                <a:gd name="connsiteY2" fmla="*/ 934051 h 1339676"/>
                <a:gd name="connsiteX3" fmla="*/ 1129841 w 1177381"/>
                <a:gd name="connsiteY3" fmla="*/ 941756 h 1339676"/>
                <a:gd name="connsiteX4" fmla="*/ 1122136 w 1177381"/>
                <a:gd name="connsiteY4" fmla="*/ 942419 h 1339676"/>
                <a:gd name="connsiteX5" fmla="*/ 1119632 w 1177381"/>
                <a:gd name="connsiteY5" fmla="*/ 942289 h 1339676"/>
                <a:gd name="connsiteX6" fmla="*/ 1095627 w 1177381"/>
                <a:gd name="connsiteY6" fmla="*/ 963872 h 1339676"/>
                <a:gd name="connsiteX7" fmla="*/ 1093478 w 1177381"/>
                <a:gd name="connsiteY7" fmla="*/ 965341 h 1339676"/>
                <a:gd name="connsiteX8" fmla="*/ 1091007 w 1177381"/>
                <a:gd name="connsiteY8" fmla="*/ 964501 h 1339676"/>
                <a:gd name="connsiteX9" fmla="*/ 1068326 w 1177381"/>
                <a:gd name="connsiteY9" fmla="*/ 937912 h 1339676"/>
                <a:gd name="connsiteX10" fmla="*/ 1063771 w 1177381"/>
                <a:gd name="connsiteY10" fmla="*/ 929463 h 1339676"/>
                <a:gd name="connsiteX11" fmla="*/ 1064304 w 1177381"/>
                <a:gd name="connsiteY11" fmla="*/ 918139 h 1339676"/>
                <a:gd name="connsiteX12" fmla="*/ 1064352 w 1177381"/>
                <a:gd name="connsiteY12" fmla="*/ 917897 h 1339676"/>
                <a:gd name="connsiteX13" fmla="*/ 1068908 w 1177381"/>
                <a:gd name="connsiteY13" fmla="*/ 844896 h 1339676"/>
                <a:gd name="connsiteX14" fmla="*/ 1065935 w 1177381"/>
                <a:gd name="connsiteY14" fmla="*/ 832990 h 1339676"/>
                <a:gd name="connsiteX15" fmla="*/ 1061218 w 1177381"/>
                <a:gd name="connsiteY15" fmla="*/ 827998 h 1339676"/>
                <a:gd name="connsiteX16" fmla="*/ 1053658 w 1177381"/>
                <a:gd name="connsiteY16" fmla="*/ 816545 h 1339676"/>
                <a:gd name="connsiteX17" fmla="*/ 1060346 w 1177381"/>
                <a:gd name="connsiteY17" fmla="*/ 802087 h 1339676"/>
                <a:gd name="connsiteX18" fmla="*/ 1065887 w 1177381"/>
                <a:gd name="connsiteY18" fmla="*/ 793622 h 1339676"/>
                <a:gd name="connsiteX19" fmla="*/ 1060411 w 1177381"/>
                <a:gd name="connsiteY19" fmla="*/ 779035 h 1339676"/>
                <a:gd name="connsiteX20" fmla="*/ 1053416 w 1177381"/>
                <a:gd name="connsiteY20" fmla="*/ 761976 h 1339676"/>
                <a:gd name="connsiteX21" fmla="*/ 1062091 w 1177381"/>
                <a:gd name="connsiteY21" fmla="*/ 745273 h 1339676"/>
                <a:gd name="connsiteX22" fmla="*/ 1068035 w 1177381"/>
                <a:gd name="connsiteY22" fmla="*/ 737293 h 1339676"/>
                <a:gd name="connsiteX23" fmla="*/ 1070959 w 1177381"/>
                <a:gd name="connsiteY23" fmla="*/ 716421 h 1339676"/>
                <a:gd name="connsiteX24" fmla="*/ 1076032 w 1177381"/>
                <a:gd name="connsiteY24" fmla="*/ 690720 h 1339676"/>
                <a:gd name="connsiteX25" fmla="*/ 1081007 w 1177381"/>
                <a:gd name="connsiteY25" fmla="*/ 685147 h 1339676"/>
                <a:gd name="connsiteX26" fmla="*/ 1086936 w 1177381"/>
                <a:gd name="connsiteY26" fmla="*/ 677102 h 1339676"/>
                <a:gd name="connsiteX27" fmla="*/ 1087275 w 1177381"/>
                <a:gd name="connsiteY27" fmla="*/ 670592 h 1339676"/>
                <a:gd name="connsiteX28" fmla="*/ 1087194 w 1177381"/>
                <a:gd name="connsiteY28" fmla="*/ 666699 h 1339676"/>
                <a:gd name="connsiteX29" fmla="*/ 1094431 w 1177381"/>
                <a:gd name="connsiteY29" fmla="*/ 645424 h 1339676"/>
                <a:gd name="connsiteX30" fmla="*/ 1098228 w 1177381"/>
                <a:gd name="connsiteY30" fmla="*/ 637718 h 1339676"/>
                <a:gd name="connsiteX31" fmla="*/ 1098179 w 1177381"/>
                <a:gd name="connsiteY31" fmla="*/ 570064 h 1339676"/>
                <a:gd name="connsiteX32" fmla="*/ 1101054 w 1177381"/>
                <a:gd name="connsiteY32" fmla="*/ 532473 h 1339676"/>
                <a:gd name="connsiteX33" fmla="*/ 1102395 w 1177381"/>
                <a:gd name="connsiteY33" fmla="*/ 496353 h 1339676"/>
                <a:gd name="connsiteX34" fmla="*/ 1096871 w 1177381"/>
                <a:gd name="connsiteY34" fmla="*/ 489035 h 1339676"/>
                <a:gd name="connsiteX35" fmla="*/ 1092364 w 1177381"/>
                <a:gd name="connsiteY35" fmla="*/ 483413 h 1339676"/>
                <a:gd name="connsiteX36" fmla="*/ 1087113 w 1177381"/>
                <a:gd name="connsiteY36" fmla="*/ 427778 h 1339676"/>
                <a:gd name="connsiteX37" fmla="*/ 1103284 w 1177381"/>
                <a:gd name="connsiteY37" fmla="*/ 369962 h 1339676"/>
                <a:gd name="connsiteX38" fmla="*/ 1109439 w 1177381"/>
                <a:gd name="connsiteY38" fmla="*/ 359139 h 1339676"/>
                <a:gd name="connsiteX39" fmla="*/ 1117370 w 1177381"/>
                <a:gd name="connsiteY39" fmla="*/ 344551 h 1339676"/>
                <a:gd name="connsiteX40" fmla="*/ 1120117 w 1177381"/>
                <a:gd name="connsiteY40" fmla="*/ 268031 h 1339676"/>
                <a:gd name="connsiteX41" fmla="*/ 1121183 w 1177381"/>
                <a:gd name="connsiteY41" fmla="*/ 192768 h 1339676"/>
                <a:gd name="connsiteX42" fmla="*/ 1122168 w 1177381"/>
                <a:gd name="connsiteY42" fmla="*/ 190022 h 1339676"/>
                <a:gd name="connsiteX43" fmla="*/ 1123816 w 1177381"/>
                <a:gd name="connsiteY43" fmla="*/ 166615 h 1339676"/>
                <a:gd name="connsiteX44" fmla="*/ 1120763 w 1177381"/>
                <a:gd name="connsiteY44" fmla="*/ 163626 h 1339676"/>
                <a:gd name="connsiteX45" fmla="*/ 1116401 w 1177381"/>
                <a:gd name="connsiteY45" fmla="*/ 159087 h 1339676"/>
                <a:gd name="connsiteX46" fmla="*/ 1118420 w 1177381"/>
                <a:gd name="connsiteY46" fmla="*/ 135485 h 1339676"/>
                <a:gd name="connsiteX47" fmla="*/ 1122621 w 1177381"/>
                <a:gd name="connsiteY47" fmla="*/ 123580 h 1339676"/>
                <a:gd name="connsiteX48" fmla="*/ 1119584 w 1177381"/>
                <a:gd name="connsiteY48" fmla="*/ 106456 h 1339676"/>
                <a:gd name="connsiteX49" fmla="*/ 1117193 w 1177381"/>
                <a:gd name="connsiteY49" fmla="*/ 98622 h 1339676"/>
                <a:gd name="connsiteX50" fmla="*/ 1118291 w 1177381"/>
                <a:gd name="connsiteY50" fmla="*/ 58155 h 1339676"/>
                <a:gd name="connsiteX51" fmla="*/ 1120327 w 1177381"/>
                <a:gd name="connsiteY51" fmla="*/ 44392 h 1339676"/>
                <a:gd name="connsiteX52" fmla="*/ 1108372 w 1177381"/>
                <a:gd name="connsiteY52" fmla="*/ 1599 h 1339676"/>
                <a:gd name="connsiteX53" fmla="*/ 1106143 w 1177381"/>
                <a:gd name="connsiteY53" fmla="*/ 0 h 1339676"/>
                <a:gd name="connsiteX54" fmla="*/ 1073609 w 1177381"/>
                <a:gd name="connsiteY54" fmla="*/ 31275 h 1339676"/>
                <a:gd name="connsiteX55" fmla="*/ 1073673 w 1177381"/>
                <a:gd name="connsiteY55" fmla="*/ 34376 h 1339676"/>
                <a:gd name="connsiteX56" fmla="*/ 1072898 w 1177381"/>
                <a:gd name="connsiteY56" fmla="*/ 42986 h 1339676"/>
                <a:gd name="connsiteX57" fmla="*/ 1065111 w 1177381"/>
                <a:gd name="connsiteY57" fmla="*/ 52388 h 1339676"/>
                <a:gd name="connsiteX58" fmla="*/ 986069 w 1177381"/>
                <a:gd name="connsiteY58" fmla="*/ 82209 h 1339676"/>
                <a:gd name="connsiteX59" fmla="*/ 967669 w 1177381"/>
                <a:gd name="connsiteY59" fmla="*/ 73760 h 1339676"/>
                <a:gd name="connsiteX60" fmla="*/ 956264 w 1177381"/>
                <a:gd name="connsiteY60" fmla="*/ 67912 h 1339676"/>
                <a:gd name="connsiteX61" fmla="*/ 913682 w 1177381"/>
                <a:gd name="connsiteY61" fmla="*/ 60045 h 1339676"/>
                <a:gd name="connsiteX62" fmla="*/ 893166 w 1177381"/>
                <a:gd name="connsiteY62" fmla="*/ 58058 h 1339676"/>
                <a:gd name="connsiteX63" fmla="*/ 857692 w 1177381"/>
                <a:gd name="connsiteY63" fmla="*/ 49981 h 1339676"/>
                <a:gd name="connsiteX64" fmla="*/ 825351 w 1177381"/>
                <a:gd name="connsiteY64" fmla="*/ 42421 h 1339676"/>
                <a:gd name="connsiteX65" fmla="*/ 762107 w 1177381"/>
                <a:gd name="connsiteY65" fmla="*/ 56023 h 1339676"/>
                <a:gd name="connsiteX66" fmla="*/ 758844 w 1177381"/>
                <a:gd name="connsiteY66" fmla="*/ 56475 h 1339676"/>
                <a:gd name="connsiteX67" fmla="*/ 757261 w 1177381"/>
                <a:gd name="connsiteY67" fmla="*/ 53584 h 1339676"/>
                <a:gd name="connsiteX68" fmla="*/ 748554 w 1177381"/>
                <a:gd name="connsiteY68" fmla="*/ 34118 h 1339676"/>
                <a:gd name="connsiteX69" fmla="*/ 722982 w 1177381"/>
                <a:gd name="connsiteY69" fmla="*/ 27608 h 1339676"/>
                <a:gd name="connsiteX70" fmla="*/ 696682 w 1177381"/>
                <a:gd name="connsiteY70" fmla="*/ 68155 h 1339676"/>
                <a:gd name="connsiteX71" fmla="*/ 697151 w 1177381"/>
                <a:gd name="connsiteY71" fmla="*/ 73728 h 1339676"/>
                <a:gd name="connsiteX72" fmla="*/ 697022 w 1177381"/>
                <a:gd name="connsiteY72" fmla="*/ 88557 h 1339676"/>
                <a:gd name="connsiteX73" fmla="*/ 679801 w 1177381"/>
                <a:gd name="connsiteY73" fmla="*/ 101965 h 1339676"/>
                <a:gd name="connsiteX74" fmla="*/ 669188 w 1177381"/>
                <a:gd name="connsiteY74" fmla="*/ 94518 h 1339676"/>
                <a:gd name="connsiteX75" fmla="*/ 577125 w 1177381"/>
                <a:gd name="connsiteY75" fmla="*/ 43649 h 1339676"/>
                <a:gd name="connsiteX76" fmla="*/ 553831 w 1177381"/>
                <a:gd name="connsiteY76" fmla="*/ 45539 h 1339676"/>
                <a:gd name="connsiteX77" fmla="*/ 541537 w 1177381"/>
                <a:gd name="connsiteY77" fmla="*/ 64875 h 1339676"/>
                <a:gd name="connsiteX78" fmla="*/ 539825 w 1177381"/>
                <a:gd name="connsiteY78" fmla="*/ 69188 h 1339676"/>
                <a:gd name="connsiteX79" fmla="*/ 475919 w 1177381"/>
                <a:gd name="connsiteY79" fmla="*/ 127101 h 1339676"/>
                <a:gd name="connsiteX80" fmla="*/ 474804 w 1177381"/>
                <a:gd name="connsiteY80" fmla="*/ 127441 h 1339676"/>
                <a:gd name="connsiteX81" fmla="*/ 466114 w 1177381"/>
                <a:gd name="connsiteY81" fmla="*/ 131447 h 1339676"/>
                <a:gd name="connsiteX82" fmla="*/ 466776 w 1177381"/>
                <a:gd name="connsiteY82" fmla="*/ 149976 h 1339676"/>
                <a:gd name="connsiteX83" fmla="*/ 474045 w 1177381"/>
                <a:gd name="connsiteY83" fmla="*/ 158586 h 1339676"/>
                <a:gd name="connsiteX84" fmla="*/ 482316 w 1177381"/>
                <a:gd name="connsiteY84" fmla="*/ 168569 h 1339676"/>
                <a:gd name="connsiteX85" fmla="*/ 482978 w 1177381"/>
                <a:gd name="connsiteY85" fmla="*/ 210102 h 1339676"/>
                <a:gd name="connsiteX86" fmla="*/ 451236 w 1177381"/>
                <a:gd name="connsiteY86" fmla="*/ 237047 h 1339676"/>
                <a:gd name="connsiteX87" fmla="*/ 365408 w 1177381"/>
                <a:gd name="connsiteY87" fmla="*/ 216030 h 1339676"/>
                <a:gd name="connsiteX88" fmla="*/ 333665 w 1177381"/>
                <a:gd name="connsiteY88" fmla="*/ 200684 h 1339676"/>
                <a:gd name="connsiteX89" fmla="*/ 314442 w 1177381"/>
                <a:gd name="connsiteY89" fmla="*/ 207049 h 1339676"/>
                <a:gd name="connsiteX90" fmla="*/ 307382 w 1177381"/>
                <a:gd name="connsiteY90" fmla="*/ 215465 h 1339676"/>
                <a:gd name="connsiteX91" fmla="*/ 298756 w 1177381"/>
                <a:gd name="connsiteY91" fmla="*/ 225464 h 1339676"/>
                <a:gd name="connsiteX92" fmla="*/ 235512 w 1177381"/>
                <a:gd name="connsiteY92" fmla="*/ 226272 h 1339676"/>
                <a:gd name="connsiteX93" fmla="*/ 231781 w 1177381"/>
                <a:gd name="connsiteY93" fmla="*/ 224657 h 1339676"/>
                <a:gd name="connsiteX94" fmla="*/ 207985 w 1177381"/>
                <a:gd name="connsiteY94" fmla="*/ 216741 h 1339676"/>
                <a:gd name="connsiteX95" fmla="*/ 183173 w 1177381"/>
                <a:gd name="connsiteY95" fmla="*/ 224366 h 1339676"/>
                <a:gd name="connsiteX96" fmla="*/ 192429 w 1177381"/>
                <a:gd name="connsiteY96" fmla="*/ 273232 h 1339676"/>
                <a:gd name="connsiteX97" fmla="*/ 197647 w 1177381"/>
                <a:gd name="connsiteY97" fmla="*/ 328979 h 1339676"/>
                <a:gd name="connsiteX98" fmla="*/ 180798 w 1177381"/>
                <a:gd name="connsiteY98" fmla="*/ 336668 h 1339676"/>
                <a:gd name="connsiteX99" fmla="*/ 141963 w 1177381"/>
                <a:gd name="connsiteY99" fmla="*/ 336927 h 1339676"/>
                <a:gd name="connsiteX100" fmla="*/ 96166 w 1177381"/>
                <a:gd name="connsiteY100" fmla="*/ 339851 h 1339676"/>
                <a:gd name="connsiteX101" fmla="*/ 62630 w 1177381"/>
                <a:gd name="connsiteY101" fmla="*/ 367216 h 1339676"/>
                <a:gd name="connsiteX102" fmla="*/ 37526 w 1177381"/>
                <a:gd name="connsiteY102" fmla="*/ 390575 h 1339676"/>
                <a:gd name="connsiteX103" fmla="*/ 25992 w 1177381"/>
                <a:gd name="connsiteY103" fmla="*/ 397295 h 1339676"/>
                <a:gd name="connsiteX104" fmla="*/ 12520 w 1177381"/>
                <a:gd name="connsiteY104" fmla="*/ 405437 h 1339676"/>
                <a:gd name="connsiteX105" fmla="*/ 0 w 1177381"/>
                <a:gd name="connsiteY105" fmla="*/ 424676 h 1339676"/>
                <a:gd name="connsiteX106" fmla="*/ 22164 w 1177381"/>
                <a:gd name="connsiteY106" fmla="*/ 428053 h 1339676"/>
                <a:gd name="connsiteX107" fmla="*/ 38221 w 1177381"/>
                <a:gd name="connsiteY107" fmla="*/ 448746 h 1339676"/>
                <a:gd name="connsiteX108" fmla="*/ 38156 w 1177381"/>
                <a:gd name="connsiteY108" fmla="*/ 451218 h 1339676"/>
                <a:gd name="connsiteX109" fmla="*/ 38350 w 1177381"/>
                <a:gd name="connsiteY109" fmla="*/ 455095 h 1339676"/>
                <a:gd name="connsiteX110" fmla="*/ 52097 w 1177381"/>
                <a:gd name="connsiteY110" fmla="*/ 459133 h 1339676"/>
                <a:gd name="connsiteX111" fmla="*/ 61547 w 1177381"/>
                <a:gd name="connsiteY111" fmla="*/ 459456 h 1339676"/>
                <a:gd name="connsiteX112" fmla="*/ 75166 w 1177381"/>
                <a:gd name="connsiteY112" fmla="*/ 468438 h 1339676"/>
                <a:gd name="connsiteX113" fmla="*/ 78316 w 1177381"/>
                <a:gd name="connsiteY113" fmla="*/ 484447 h 1339676"/>
                <a:gd name="connsiteX114" fmla="*/ 59819 w 1177381"/>
                <a:gd name="connsiteY114" fmla="*/ 505383 h 1339676"/>
                <a:gd name="connsiteX115" fmla="*/ 43956 w 1177381"/>
                <a:gd name="connsiteY115" fmla="*/ 524105 h 1339676"/>
                <a:gd name="connsiteX116" fmla="*/ 45119 w 1177381"/>
                <a:gd name="connsiteY116" fmla="*/ 533120 h 1339676"/>
                <a:gd name="connsiteX117" fmla="*/ 45296 w 1177381"/>
                <a:gd name="connsiteY117" fmla="*/ 533911 h 1339676"/>
                <a:gd name="connsiteX118" fmla="*/ 48624 w 1177381"/>
                <a:gd name="connsiteY118" fmla="*/ 597591 h 1339676"/>
                <a:gd name="connsiteX119" fmla="*/ 47558 w 1177381"/>
                <a:gd name="connsiteY119" fmla="*/ 605894 h 1339676"/>
                <a:gd name="connsiteX120" fmla="*/ 54666 w 1177381"/>
                <a:gd name="connsiteY120" fmla="*/ 661109 h 1339676"/>
                <a:gd name="connsiteX121" fmla="*/ 64326 w 1177381"/>
                <a:gd name="connsiteY121" fmla="*/ 669186 h 1339676"/>
                <a:gd name="connsiteX122" fmla="*/ 74390 w 1177381"/>
                <a:gd name="connsiteY122" fmla="*/ 677538 h 1339676"/>
                <a:gd name="connsiteX123" fmla="*/ 83129 w 1177381"/>
                <a:gd name="connsiteY123" fmla="*/ 689508 h 1339676"/>
                <a:gd name="connsiteX124" fmla="*/ 99058 w 1177381"/>
                <a:gd name="connsiteY124" fmla="*/ 705727 h 1339676"/>
                <a:gd name="connsiteX125" fmla="*/ 123951 w 1177381"/>
                <a:gd name="connsiteY125" fmla="*/ 701608 h 1339676"/>
                <a:gd name="connsiteX126" fmla="*/ 155339 w 1177381"/>
                <a:gd name="connsiteY126" fmla="*/ 699750 h 1339676"/>
                <a:gd name="connsiteX127" fmla="*/ 156615 w 1177381"/>
                <a:gd name="connsiteY127" fmla="*/ 701737 h 1339676"/>
                <a:gd name="connsiteX128" fmla="*/ 156001 w 1177381"/>
                <a:gd name="connsiteY128" fmla="*/ 704015 h 1339676"/>
                <a:gd name="connsiteX129" fmla="*/ 153626 w 1177381"/>
                <a:gd name="connsiteY129" fmla="*/ 741493 h 1339676"/>
                <a:gd name="connsiteX130" fmla="*/ 155823 w 1177381"/>
                <a:gd name="connsiteY130" fmla="*/ 744740 h 1339676"/>
                <a:gd name="connsiteX131" fmla="*/ 161510 w 1177381"/>
                <a:gd name="connsiteY131" fmla="*/ 757146 h 1339676"/>
                <a:gd name="connsiteX132" fmla="*/ 142399 w 1177381"/>
                <a:gd name="connsiteY132" fmla="*/ 778211 h 1339676"/>
                <a:gd name="connsiteX133" fmla="*/ 137036 w 1177381"/>
                <a:gd name="connsiteY133" fmla="*/ 779730 h 1339676"/>
                <a:gd name="connsiteX134" fmla="*/ 119541 w 1177381"/>
                <a:gd name="connsiteY134" fmla="*/ 788130 h 1339676"/>
                <a:gd name="connsiteX135" fmla="*/ 113677 w 1177381"/>
                <a:gd name="connsiteY135" fmla="*/ 805318 h 1339676"/>
                <a:gd name="connsiteX136" fmla="*/ 113451 w 1177381"/>
                <a:gd name="connsiteY136" fmla="*/ 806756 h 1339676"/>
                <a:gd name="connsiteX137" fmla="*/ 26073 w 1177381"/>
                <a:gd name="connsiteY137" fmla="*/ 936006 h 1339676"/>
                <a:gd name="connsiteX138" fmla="*/ 25976 w 1177381"/>
                <a:gd name="connsiteY138" fmla="*/ 936054 h 1339676"/>
                <a:gd name="connsiteX139" fmla="*/ 26994 w 1177381"/>
                <a:gd name="connsiteY139" fmla="*/ 941320 h 1339676"/>
                <a:gd name="connsiteX140" fmla="*/ 26057 w 1177381"/>
                <a:gd name="connsiteY140" fmla="*/ 1010783 h 1339676"/>
                <a:gd name="connsiteX141" fmla="*/ 19724 w 1177381"/>
                <a:gd name="connsiteY141" fmla="*/ 1022754 h 1339676"/>
                <a:gd name="connsiteX142" fmla="*/ 19773 w 1177381"/>
                <a:gd name="connsiteY142" fmla="*/ 1022867 h 1339676"/>
                <a:gd name="connsiteX143" fmla="*/ 71596 w 1177381"/>
                <a:gd name="connsiteY143" fmla="*/ 1079245 h 1339676"/>
                <a:gd name="connsiteX144" fmla="*/ 119751 w 1177381"/>
                <a:gd name="connsiteY144" fmla="*/ 1084608 h 1339676"/>
                <a:gd name="connsiteX145" fmla="*/ 180491 w 1177381"/>
                <a:gd name="connsiteY145" fmla="*/ 1095108 h 1339676"/>
                <a:gd name="connsiteX146" fmla="*/ 225400 w 1177381"/>
                <a:gd name="connsiteY146" fmla="*/ 1144605 h 1339676"/>
                <a:gd name="connsiteX147" fmla="*/ 235561 w 1177381"/>
                <a:gd name="connsiteY147" fmla="*/ 1176429 h 1339676"/>
                <a:gd name="connsiteX148" fmla="*/ 221733 w 1177381"/>
                <a:gd name="connsiteY148" fmla="*/ 1200224 h 1339676"/>
                <a:gd name="connsiteX149" fmla="*/ 210780 w 1177381"/>
                <a:gd name="connsiteY149" fmla="*/ 1225521 h 1339676"/>
                <a:gd name="connsiteX150" fmla="*/ 234091 w 1177381"/>
                <a:gd name="connsiteY150" fmla="*/ 1240335 h 1339676"/>
                <a:gd name="connsiteX151" fmla="*/ 265575 w 1177381"/>
                <a:gd name="connsiteY151" fmla="*/ 1244341 h 1339676"/>
                <a:gd name="connsiteX152" fmla="*/ 313020 w 1177381"/>
                <a:gd name="connsiteY152" fmla="*/ 1252353 h 1339676"/>
                <a:gd name="connsiteX153" fmla="*/ 346152 w 1177381"/>
                <a:gd name="connsiteY153" fmla="*/ 1267183 h 1339676"/>
                <a:gd name="connsiteX154" fmla="*/ 372144 w 1177381"/>
                <a:gd name="connsiteY154" fmla="*/ 1279428 h 1339676"/>
                <a:gd name="connsiteX155" fmla="*/ 431398 w 1177381"/>
                <a:gd name="connsiteY155" fmla="*/ 1276876 h 1339676"/>
                <a:gd name="connsiteX156" fmla="*/ 444774 w 1177381"/>
                <a:gd name="connsiteY156" fmla="*/ 1262902 h 1339676"/>
                <a:gd name="connsiteX157" fmla="*/ 458876 w 1177381"/>
                <a:gd name="connsiteY157" fmla="*/ 1248186 h 1339676"/>
                <a:gd name="connsiteX158" fmla="*/ 485434 w 1177381"/>
                <a:gd name="connsiteY158" fmla="*/ 1242839 h 1339676"/>
                <a:gd name="connsiteX159" fmla="*/ 497291 w 1177381"/>
                <a:gd name="connsiteY159" fmla="*/ 1253533 h 1339676"/>
                <a:gd name="connsiteX160" fmla="*/ 497323 w 1177381"/>
                <a:gd name="connsiteY160" fmla="*/ 1271512 h 1339676"/>
                <a:gd name="connsiteX161" fmla="*/ 499391 w 1177381"/>
                <a:gd name="connsiteY161" fmla="*/ 1288006 h 1339676"/>
                <a:gd name="connsiteX162" fmla="*/ 507711 w 1177381"/>
                <a:gd name="connsiteY162" fmla="*/ 1290897 h 1339676"/>
                <a:gd name="connsiteX163" fmla="*/ 520408 w 1177381"/>
                <a:gd name="connsiteY163" fmla="*/ 1297488 h 1339676"/>
                <a:gd name="connsiteX164" fmla="*/ 522492 w 1177381"/>
                <a:gd name="connsiteY164" fmla="*/ 1306276 h 1339676"/>
                <a:gd name="connsiteX165" fmla="*/ 523186 w 1177381"/>
                <a:gd name="connsiteY165" fmla="*/ 1311300 h 1339676"/>
                <a:gd name="connsiteX166" fmla="*/ 538824 w 1177381"/>
                <a:gd name="connsiteY166" fmla="*/ 1319846 h 1339676"/>
                <a:gd name="connsiteX167" fmla="*/ 640401 w 1177381"/>
                <a:gd name="connsiteY167" fmla="*/ 1338342 h 1339676"/>
                <a:gd name="connsiteX168" fmla="*/ 658736 w 1177381"/>
                <a:gd name="connsiteY168" fmla="*/ 1338455 h 1339676"/>
                <a:gd name="connsiteX169" fmla="*/ 668994 w 1177381"/>
                <a:gd name="connsiteY169" fmla="*/ 1331121 h 1339676"/>
                <a:gd name="connsiteX170" fmla="*/ 671223 w 1177381"/>
                <a:gd name="connsiteY170" fmla="*/ 1329118 h 1339676"/>
                <a:gd name="connsiteX171" fmla="*/ 732383 w 1177381"/>
                <a:gd name="connsiteY171" fmla="*/ 1307407 h 1339676"/>
                <a:gd name="connsiteX172" fmla="*/ 740380 w 1177381"/>
                <a:gd name="connsiteY172" fmla="*/ 1307859 h 1339676"/>
                <a:gd name="connsiteX173" fmla="*/ 773996 w 1177381"/>
                <a:gd name="connsiteY173" fmla="*/ 1301285 h 1339676"/>
                <a:gd name="connsiteX174" fmla="*/ 774045 w 1177381"/>
                <a:gd name="connsiteY174" fmla="*/ 1301268 h 1339676"/>
                <a:gd name="connsiteX175" fmla="*/ 774707 w 1177381"/>
                <a:gd name="connsiteY175" fmla="*/ 1300864 h 1339676"/>
                <a:gd name="connsiteX176" fmla="*/ 828388 w 1177381"/>
                <a:gd name="connsiteY176" fmla="*/ 1269348 h 1339676"/>
                <a:gd name="connsiteX177" fmla="*/ 843120 w 1177381"/>
                <a:gd name="connsiteY177" fmla="*/ 1251691 h 1339676"/>
                <a:gd name="connsiteX178" fmla="*/ 861795 w 1177381"/>
                <a:gd name="connsiteY178" fmla="*/ 1230254 h 1339676"/>
                <a:gd name="connsiteX179" fmla="*/ 930434 w 1177381"/>
                <a:gd name="connsiteY179" fmla="*/ 1214504 h 1339676"/>
                <a:gd name="connsiteX180" fmla="*/ 980980 w 1177381"/>
                <a:gd name="connsiteY180" fmla="*/ 1263532 h 1339676"/>
                <a:gd name="connsiteX181" fmla="*/ 981368 w 1177381"/>
                <a:gd name="connsiteY181" fmla="*/ 1264792 h 1339676"/>
                <a:gd name="connsiteX182" fmla="*/ 985907 w 1177381"/>
                <a:gd name="connsiteY182" fmla="*/ 1273661 h 1339676"/>
                <a:gd name="connsiteX183" fmla="*/ 998298 w 1177381"/>
                <a:gd name="connsiteY183" fmla="*/ 1274824 h 1339676"/>
                <a:gd name="connsiteX184" fmla="*/ 1066549 w 1177381"/>
                <a:gd name="connsiteY184" fmla="*/ 1259057 h 1339676"/>
                <a:gd name="connsiteX185" fmla="*/ 1066711 w 1177381"/>
                <a:gd name="connsiteY185" fmla="*/ 1259057 h 1339676"/>
                <a:gd name="connsiteX186" fmla="*/ 1067438 w 1177381"/>
                <a:gd name="connsiteY186" fmla="*/ 1257313 h 1339676"/>
                <a:gd name="connsiteX187" fmla="*/ 1071783 w 1177381"/>
                <a:gd name="connsiteY187" fmla="*/ 1250092 h 1339676"/>
                <a:gd name="connsiteX188" fmla="*/ 1076339 w 1177381"/>
                <a:gd name="connsiteY188" fmla="*/ 1242192 h 1339676"/>
                <a:gd name="connsiteX189" fmla="*/ 1078406 w 1177381"/>
                <a:gd name="connsiteY189" fmla="*/ 1223922 h 1339676"/>
                <a:gd name="connsiteX190" fmla="*/ 1082041 w 1177381"/>
                <a:gd name="connsiteY190" fmla="*/ 1201193 h 1339676"/>
                <a:gd name="connsiteX191" fmla="*/ 1084496 w 1177381"/>
                <a:gd name="connsiteY191" fmla="*/ 1199675 h 1339676"/>
                <a:gd name="connsiteX192" fmla="*/ 1102928 w 1177381"/>
                <a:gd name="connsiteY192" fmla="*/ 1192308 h 1339676"/>
                <a:gd name="connsiteX193" fmla="*/ 1102589 w 1177381"/>
                <a:gd name="connsiteY193" fmla="*/ 1181323 h 1339676"/>
                <a:gd name="connsiteX194" fmla="*/ 1101378 w 1177381"/>
                <a:gd name="connsiteY194" fmla="*/ 1172859 h 1339676"/>
                <a:gd name="connsiteX195" fmla="*/ 1111280 w 1177381"/>
                <a:gd name="connsiteY195" fmla="*/ 1150259 h 1339676"/>
                <a:gd name="connsiteX196" fmla="*/ 1113283 w 1177381"/>
                <a:gd name="connsiteY196" fmla="*/ 1147432 h 1339676"/>
                <a:gd name="connsiteX197" fmla="*/ 1131893 w 1177381"/>
                <a:gd name="connsiteY197" fmla="*/ 1089067 h 1339676"/>
                <a:gd name="connsiteX198" fmla="*/ 1131844 w 1177381"/>
                <a:gd name="connsiteY198" fmla="*/ 1082960 h 1339676"/>
                <a:gd name="connsiteX199" fmla="*/ 1137450 w 1177381"/>
                <a:gd name="connsiteY199" fmla="*/ 1052897 h 1339676"/>
                <a:gd name="connsiteX200" fmla="*/ 1142135 w 1177381"/>
                <a:gd name="connsiteY200" fmla="*/ 1046985 h 1339676"/>
                <a:gd name="connsiteX201" fmla="*/ 1147482 w 1177381"/>
                <a:gd name="connsiteY201" fmla="*/ 1039732 h 1339676"/>
                <a:gd name="connsiteX202" fmla="*/ 1145172 w 1177381"/>
                <a:gd name="connsiteY202" fmla="*/ 1033787 h 1339676"/>
                <a:gd name="connsiteX203" fmla="*/ 1144978 w 1177381"/>
                <a:gd name="connsiteY203" fmla="*/ 1032737 h 1339676"/>
                <a:gd name="connsiteX204" fmla="*/ 1147352 w 1177381"/>
                <a:gd name="connsiteY204" fmla="*/ 1029878 h 1339676"/>
                <a:gd name="connsiteX205" fmla="*/ 1148403 w 1177381"/>
                <a:gd name="connsiteY205" fmla="*/ 1029878 h 1339676"/>
                <a:gd name="connsiteX206" fmla="*/ 1148451 w 1177381"/>
                <a:gd name="connsiteY206" fmla="*/ 1029878 h 1339676"/>
                <a:gd name="connsiteX207" fmla="*/ 1148693 w 1177381"/>
                <a:gd name="connsiteY207" fmla="*/ 1029829 h 1339676"/>
                <a:gd name="connsiteX208" fmla="*/ 1150406 w 1177381"/>
                <a:gd name="connsiteY208" fmla="*/ 1019830 h 1339676"/>
                <a:gd name="connsiteX209" fmla="*/ 1163054 w 1177381"/>
                <a:gd name="connsiteY209" fmla="*/ 994532 h 1339676"/>
                <a:gd name="connsiteX210" fmla="*/ 1173425 w 1177381"/>
                <a:gd name="connsiteY210" fmla="*/ 975826 h 1339676"/>
                <a:gd name="connsiteX211" fmla="*/ 1173716 w 1177381"/>
                <a:gd name="connsiteY211" fmla="*/ 919835 h 1339676"/>
                <a:gd name="connsiteX212" fmla="*/ 1167965 w 1177381"/>
                <a:gd name="connsiteY212" fmla="*/ 886832 h 1339676"/>
                <a:gd name="connsiteX213" fmla="*/ 1167933 w 1177381"/>
                <a:gd name="connsiteY213" fmla="*/ 886929 h 1339676"/>
                <a:gd name="connsiteX214" fmla="*/ 610031 w 1177381"/>
                <a:gd name="connsiteY214" fmla="*/ 1056920 h 1339676"/>
                <a:gd name="connsiteX215" fmla="*/ 613407 w 1177381"/>
                <a:gd name="connsiteY215" fmla="*/ 1069698 h 1339676"/>
                <a:gd name="connsiteX216" fmla="*/ 604604 w 1177381"/>
                <a:gd name="connsiteY216" fmla="*/ 1102572 h 1339676"/>
                <a:gd name="connsiteX217" fmla="*/ 589596 w 1177381"/>
                <a:gd name="connsiteY217" fmla="*/ 1108888 h 1339676"/>
                <a:gd name="connsiteX218" fmla="*/ 577384 w 1177381"/>
                <a:gd name="connsiteY218" fmla="*/ 1113605 h 1339676"/>
                <a:gd name="connsiteX219" fmla="*/ 571681 w 1177381"/>
                <a:gd name="connsiteY219" fmla="*/ 1118790 h 1339676"/>
                <a:gd name="connsiteX220" fmla="*/ 563798 w 1177381"/>
                <a:gd name="connsiteY220" fmla="*/ 1125543 h 1339676"/>
                <a:gd name="connsiteX221" fmla="*/ 537451 w 1177381"/>
                <a:gd name="connsiteY221" fmla="*/ 1127271 h 1339676"/>
                <a:gd name="connsiteX222" fmla="*/ 515158 w 1177381"/>
                <a:gd name="connsiteY222" fmla="*/ 1128111 h 1339676"/>
                <a:gd name="connsiteX223" fmla="*/ 504867 w 1177381"/>
                <a:gd name="connsiteY223" fmla="*/ 1139112 h 1339676"/>
                <a:gd name="connsiteX224" fmla="*/ 494060 w 1177381"/>
                <a:gd name="connsiteY224" fmla="*/ 1151050 h 1339676"/>
                <a:gd name="connsiteX225" fmla="*/ 480895 w 1177381"/>
                <a:gd name="connsiteY225" fmla="*/ 1154943 h 1339676"/>
                <a:gd name="connsiteX226" fmla="*/ 449216 w 1177381"/>
                <a:gd name="connsiteY226" fmla="*/ 1138321 h 1339676"/>
                <a:gd name="connsiteX227" fmla="*/ 440541 w 1177381"/>
                <a:gd name="connsiteY227" fmla="*/ 1127352 h 1339676"/>
                <a:gd name="connsiteX228" fmla="*/ 418168 w 1177381"/>
                <a:gd name="connsiteY228" fmla="*/ 1105189 h 1339676"/>
                <a:gd name="connsiteX229" fmla="*/ 417473 w 1177381"/>
                <a:gd name="connsiteY229" fmla="*/ 1104849 h 1339676"/>
                <a:gd name="connsiteX230" fmla="*/ 410882 w 1177381"/>
                <a:gd name="connsiteY230" fmla="*/ 1099308 h 1339676"/>
                <a:gd name="connsiteX231" fmla="*/ 411545 w 1177381"/>
                <a:gd name="connsiteY231" fmla="*/ 1089131 h 1339676"/>
                <a:gd name="connsiteX232" fmla="*/ 433466 w 1177381"/>
                <a:gd name="connsiteY232" fmla="*/ 1053947 h 1339676"/>
                <a:gd name="connsiteX233" fmla="*/ 439863 w 1177381"/>
                <a:gd name="connsiteY233" fmla="*/ 1047195 h 1339676"/>
                <a:gd name="connsiteX234" fmla="*/ 451575 w 1177381"/>
                <a:gd name="connsiteY234" fmla="*/ 1033835 h 1339676"/>
                <a:gd name="connsiteX235" fmla="*/ 464369 w 1177381"/>
                <a:gd name="connsiteY235" fmla="*/ 1006341 h 1339676"/>
                <a:gd name="connsiteX236" fmla="*/ 468003 w 1177381"/>
                <a:gd name="connsiteY236" fmla="*/ 988604 h 1339676"/>
                <a:gd name="connsiteX237" fmla="*/ 483641 w 1177381"/>
                <a:gd name="connsiteY237" fmla="*/ 955568 h 1339676"/>
                <a:gd name="connsiteX238" fmla="*/ 517048 w 1177381"/>
                <a:gd name="connsiteY238" fmla="*/ 964146 h 1339676"/>
                <a:gd name="connsiteX239" fmla="*/ 533121 w 1177381"/>
                <a:gd name="connsiteY239" fmla="*/ 972643 h 1339676"/>
                <a:gd name="connsiteX240" fmla="*/ 554332 w 1177381"/>
                <a:gd name="connsiteY240" fmla="*/ 976536 h 1339676"/>
                <a:gd name="connsiteX241" fmla="*/ 568305 w 1177381"/>
                <a:gd name="connsiteY241" fmla="*/ 972740 h 1339676"/>
                <a:gd name="connsiteX242" fmla="*/ 589580 w 1177381"/>
                <a:gd name="connsiteY242" fmla="*/ 968863 h 1339676"/>
                <a:gd name="connsiteX243" fmla="*/ 612600 w 1177381"/>
                <a:gd name="connsiteY243" fmla="*/ 989508 h 1339676"/>
                <a:gd name="connsiteX244" fmla="*/ 616509 w 1177381"/>
                <a:gd name="connsiteY244" fmla="*/ 1019474 h 1339676"/>
                <a:gd name="connsiteX245" fmla="*/ 610855 w 1177381"/>
                <a:gd name="connsiteY245" fmla="*/ 1038132 h 1339676"/>
                <a:gd name="connsiteX246" fmla="*/ 606251 w 1177381"/>
                <a:gd name="connsiteY246" fmla="*/ 1040943 h 1339676"/>
                <a:gd name="connsiteX247" fmla="*/ 610080 w 1177381"/>
                <a:gd name="connsiteY247" fmla="*/ 1056887 h 1339676"/>
                <a:gd name="connsiteX248" fmla="*/ 610031 w 1177381"/>
                <a:gd name="connsiteY248" fmla="*/ 1056920 h 133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1177381" h="1339676">
                  <a:moveTo>
                    <a:pt x="1167933" y="886929"/>
                  </a:moveTo>
                  <a:cubicBezTo>
                    <a:pt x="1164654" y="889094"/>
                    <a:pt x="1162117" y="892971"/>
                    <a:pt x="1159630" y="897090"/>
                  </a:cubicBezTo>
                  <a:lnTo>
                    <a:pt x="1137385" y="934051"/>
                  </a:lnTo>
                  <a:cubicBezTo>
                    <a:pt x="1135818" y="936652"/>
                    <a:pt x="1133670" y="940206"/>
                    <a:pt x="1129841" y="941756"/>
                  </a:cubicBezTo>
                  <a:cubicBezTo>
                    <a:pt x="1127208" y="942806"/>
                    <a:pt x="1124510" y="942613"/>
                    <a:pt x="1122136" y="942419"/>
                  </a:cubicBezTo>
                  <a:cubicBezTo>
                    <a:pt x="1121296" y="942354"/>
                    <a:pt x="1120424" y="942241"/>
                    <a:pt x="1119632" y="942289"/>
                  </a:cubicBezTo>
                  <a:cubicBezTo>
                    <a:pt x="1108873" y="942289"/>
                    <a:pt x="1101152" y="953824"/>
                    <a:pt x="1095627" y="963872"/>
                  </a:cubicBezTo>
                  <a:cubicBezTo>
                    <a:pt x="1095175" y="964679"/>
                    <a:pt x="1094383" y="965228"/>
                    <a:pt x="1093478" y="965341"/>
                  </a:cubicBezTo>
                  <a:cubicBezTo>
                    <a:pt x="1092574" y="965471"/>
                    <a:pt x="1091653" y="965148"/>
                    <a:pt x="1091007" y="964501"/>
                  </a:cubicBezTo>
                  <a:cubicBezTo>
                    <a:pt x="1082881" y="956198"/>
                    <a:pt x="1075256" y="947249"/>
                    <a:pt x="1068326" y="937912"/>
                  </a:cubicBezTo>
                  <a:cubicBezTo>
                    <a:pt x="1066388" y="935295"/>
                    <a:pt x="1064578" y="932678"/>
                    <a:pt x="1063771" y="929463"/>
                  </a:cubicBezTo>
                  <a:cubicBezTo>
                    <a:pt x="1062801" y="925537"/>
                    <a:pt x="1063593" y="921612"/>
                    <a:pt x="1064304" y="918139"/>
                  </a:cubicBezTo>
                  <a:lnTo>
                    <a:pt x="1064352" y="917897"/>
                  </a:lnTo>
                  <a:cubicBezTo>
                    <a:pt x="1069198" y="893891"/>
                    <a:pt x="1070733" y="869321"/>
                    <a:pt x="1068908" y="844896"/>
                  </a:cubicBezTo>
                  <a:cubicBezTo>
                    <a:pt x="1068585" y="840486"/>
                    <a:pt x="1068100" y="836253"/>
                    <a:pt x="1065935" y="832990"/>
                  </a:cubicBezTo>
                  <a:cubicBezTo>
                    <a:pt x="1064772" y="831229"/>
                    <a:pt x="1063044" y="829662"/>
                    <a:pt x="1061218" y="827998"/>
                  </a:cubicBezTo>
                  <a:cubicBezTo>
                    <a:pt x="1057955" y="825026"/>
                    <a:pt x="1054256" y="821650"/>
                    <a:pt x="1053658" y="816545"/>
                  </a:cubicBezTo>
                  <a:cubicBezTo>
                    <a:pt x="1052931" y="810503"/>
                    <a:pt x="1056873" y="806029"/>
                    <a:pt x="1060346" y="802087"/>
                  </a:cubicBezTo>
                  <a:cubicBezTo>
                    <a:pt x="1062818" y="799260"/>
                    <a:pt x="1065160" y="796595"/>
                    <a:pt x="1065887" y="793622"/>
                  </a:cubicBezTo>
                  <a:cubicBezTo>
                    <a:pt x="1067050" y="788792"/>
                    <a:pt x="1063981" y="784269"/>
                    <a:pt x="1060411" y="779035"/>
                  </a:cubicBezTo>
                  <a:cubicBezTo>
                    <a:pt x="1056873" y="773850"/>
                    <a:pt x="1053222" y="768486"/>
                    <a:pt x="1053416" y="761976"/>
                  </a:cubicBezTo>
                  <a:cubicBezTo>
                    <a:pt x="1053626" y="755111"/>
                    <a:pt x="1057923" y="750119"/>
                    <a:pt x="1062091" y="745273"/>
                  </a:cubicBezTo>
                  <a:cubicBezTo>
                    <a:pt x="1064401" y="742591"/>
                    <a:pt x="1066565" y="740071"/>
                    <a:pt x="1068035" y="737293"/>
                  </a:cubicBezTo>
                  <a:cubicBezTo>
                    <a:pt x="1071218" y="731299"/>
                    <a:pt x="1071089" y="724078"/>
                    <a:pt x="1070959" y="716421"/>
                  </a:cubicBezTo>
                  <a:cubicBezTo>
                    <a:pt x="1070814" y="707520"/>
                    <a:pt x="1070652" y="698313"/>
                    <a:pt x="1076032" y="690720"/>
                  </a:cubicBezTo>
                  <a:cubicBezTo>
                    <a:pt x="1077502" y="688636"/>
                    <a:pt x="1079295" y="686875"/>
                    <a:pt x="1081007" y="685147"/>
                  </a:cubicBezTo>
                  <a:cubicBezTo>
                    <a:pt x="1083608" y="682562"/>
                    <a:pt x="1086064" y="680107"/>
                    <a:pt x="1086936" y="677102"/>
                  </a:cubicBezTo>
                  <a:cubicBezTo>
                    <a:pt x="1087485" y="675163"/>
                    <a:pt x="1087388" y="672934"/>
                    <a:pt x="1087275" y="670592"/>
                  </a:cubicBezTo>
                  <a:cubicBezTo>
                    <a:pt x="1087210" y="669299"/>
                    <a:pt x="1087146" y="667991"/>
                    <a:pt x="1087194" y="666699"/>
                  </a:cubicBezTo>
                  <a:cubicBezTo>
                    <a:pt x="1087420" y="658880"/>
                    <a:pt x="1090990" y="652031"/>
                    <a:pt x="1094431" y="645424"/>
                  </a:cubicBezTo>
                  <a:cubicBezTo>
                    <a:pt x="1095756" y="642904"/>
                    <a:pt x="1097113" y="640287"/>
                    <a:pt x="1098228" y="637718"/>
                  </a:cubicBezTo>
                  <a:cubicBezTo>
                    <a:pt x="1106741" y="618058"/>
                    <a:pt x="1106725" y="594037"/>
                    <a:pt x="1098179" y="570064"/>
                  </a:cubicBezTo>
                  <a:cubicBezTo>
                    <a:pt x="1093834" y="557852"/>
                    <a:pt x="1097501" y="544944"/>
                    <a:pt x="1101054" y="532473"/>
                  </a:cubicBezTo>
                  <a:cubicBezTo>
                    <a:pt x="1104802" y="519324"/>
                    <a:pt x="1108340" y="506901"/>
                    <a:pt x="1102395" y="496353"/>
                  </a:cubicBezTo>
                  <a:cubicBezTo>
                    <a:pt x="1100941" y="493768"/>
                    <a:pt x="1098971" y="491474"/>
                    <a:pt x="1096871" y="489035"/>
                  </a:cubicBezTo>
                  <a:cubicBezTo>
                    <a:pt x="1095352" y="487258"/>
                    <a:pt x="1093769" y="485416"/>
                    <a:pt x="1092364" y="483413"/>
                  </a:cubicBezTo>
                  <a:cubicBezTo>
                    <a:pt x="1081379" y="467744"/>
                    <a:pt x="1083753" y="447341"/>
                    <a:pt x="1087113" y="427778"/>
                  </a:cubicBezTo>
                  <a:cubicBezTo>
                    <a:pt x="1090474" y="408280"/>
                    <a:pt x="1093947" y="388119"/>
                    <a:pt x="1103284" y="369962"/>
                  </a:cubicBezTo>
                  <a:cubicBezTo>
                    <a:pt x="1105190" y="366247"/>
                    <a:pt x="1107355" y="362628"/>
                    <a:pt x="1109439" y="359139"/>
                  </a:cubicBezTo>
                  <a:cubicBezTo>
                    <a:pt x="1112249" y="354422"/>
                    <a:pt x="1115157" y="349559"/>
                    <a:pt x="1117370" y="344551"/>
                  </a:cubicBezTo>
                  <a:cubicBezTo>
                    <a:pt x="1127774" y="321049"/>
                    <a:pt x="1124058" y="295299"/>
                    <a:pt x="1120117" y="268031"/>
                  </a:cubicBezTo>
                  <a:cubicBezTo>
                    <a:pt x="1116466" y="242862"/>
                    <a:pt x="1112702" y="216822"/>
                    <a:pt x="1121183" y="192768"/>
                  </a:cubicBezTo>
                  <a:cubicBezTo>
                    <a:pt x="1121506" y="191864"/>
                    <a:pt x="1121829" y="190959"/>
                    <a:pt x="1122168" y="190022"/>
                  </a:cubicBezTo>
                  <a:cubicBezTo>
                    <a:pt x="1125270" y="181444"/>
                    <a:pt x="1128484" y="172575"/>
                    <a:pt x="1123816" y="166615"/>
                  </a:cubicBezTo>
                  <a:cubicBezTo>
                    <a:pt x="1122992" y="165564"/>
                    <a:pt x="1121910" y="164628"/>
                    <a:pt x="1120763" y="163626"/>
                  </a:cubicBezTo>
                  <a:cubicBezTo>
                    <a:pt x="1119244" y="162301"/>
                    <a:pt x="1117661" y="160928"/>
                    <a:pt x="1116401" y="159087"/>
                  </a:cubicBezTo>
                  <a:cubicBezTo>
                    <a:pt x="1111216" y="151494"/>
                    <a:pt x="1114883" y="143352"/>
                    <a:pt x="1118420" y="135485"/>
                  </a:cubicBezTo>
                  <a:cubicBezTo>
                    <a:pt x="1120197" y="131511"/>
                    <a:pt x="1122055" y="127408"/>
                    <a:pt x="1122621" y="123580"/>
                  </a:cubicBezTo>
                  <a:cubicBezTo>
                    <a:pt x="1123444" y="118007"/>
                    <a:pt x="1121570" y="112401"/>
                    <a:pt x="1119584" y="106456"/>
                  </a:cubicBezTo>
                  <a:cubicBezTo>
                    <a:pt x="1118727" y="103904"/>
                    <a:pt x="1117855" y="101287"/>
                    <a:pt x="1117193" y="98622"/>
                  </a:cubicBezTo>
                  <a:cubicBezTo>
                    <a:pt x="1113849" y="85197"/>
                    <a:pt x="1116094" y="71450"/>
                    <a:pt x="1118291" y="58155"/>
                  </a:cubicBezTo>
                  <a:cubicBezTo>
                    <a:pt x="1119034" y="53632"/>
                    <a:pt x="1119810" y="48947"/>
                    <a:pt x="1120327" y="44392"/>
                  </a:cubicBezTo>
                  <a:cubicBezTo>
                    <a:pt x="1122200" y="27947"/>
                    <a:pt x="1122055" y="11389"/>
                    <a:pt x="1108372" y="1599"/>
                  </a:cubicBezTo>
                  <a:cubicBezTo>
                    <a:pt x="1107629" y="1066"/>
                    <a:pt x="1106886" y="533"/>
                    <a:pt x="1106143" y="0"/>
                  </a:cubicBezTo>
                  <a:cubicBezTo>
                    <a:pt x="1091798" y="5880"/>
                    <a:pt x="1074012" y="15379"/>
                    <a:pt x="1073609" y="31275"/>
                  </a:cubicBezTo>
                  <a:cubicBezTo>
                    <a:pt x="1073576" y="32308"/>
                    <a:pt x="1073625" y="33342"/>
                    <a:pt x="1073673" y="34376"/>
                  </a:cubicBezTo>
                  <a:cubicBezTo>
                    <a:pt x="1073802" y="37171"/>
                    <a:pt x="1073932" y="40063"/>
                    <a:pt x="1072898" y="42986"/>
                  </a:cubicBezTo>
                  <a:cubicBezTo>
                    <a:pt x="1071395" y="47251"/>
                    <a:pt x="1067906" y="50094"/>
                    <a:pt x="1065111" y="52388"/>
                  </a:cubicBezTo>
                  <a:cubicBezTo>
                    <a:pt x="1040412" y="72629"/>
                    <a:pt x="1013725" y="90237"/>
                    <a:pt x="986069" y="82209"/>
                  </a:cubicBezTo>
                  <a:cubicBezTo>
                    <a:pt x="979462" y="80286"/>
                    <a:pt x="973469" y="76975"/>
                    <a:pt x="967669" y="73760"/>
                  </a:cubicBezTo>
                  <a:cubicBezTo>
                    <a:pt x="963970" y="71709"/>
                    <a:pt x="960141" y="69592"/>
                    <a:pt x="956264" y="67912"/>
                  </a:cubicBezTo>
                  <a:cubicBezTo>
                    <a:pt x="943066" y="62210"/>
                    <a:pt x="928802" y="61160"/>
                    <a:pt x="913682" y="60045"/>
                  </a:cubicBezTo>
                  <a:cubicBezTo>
                    <a:pt x="906929" y="59544"/>
                    <a:pt x="899967" y="59028"/>
                    <a:pt x="893166" y="58058"/>
                  </a:cubicBezTo>
                  <a:cubicBezTo>
                    <a:pt x="881083" y="56330"/>
                    <a:pt x="869193" y="53099"/>
                    <a:pt x="857692" y="49981"/>
                  </a:cubicBezTo>
                  <a:cubicBezTo>
                    <a:pt x="847143" y="47122"/>
                    <a:pt x="836239" y="44166"/>
                    <a:pt x="825351" y="42421"/>
                  </a:cubicBezTo>
                  <a:cubicBezTo>
                    <a:pt x="809940" y="39949"/>
                    <a:pt x="781217" y="38447"/>
                    <a:pt x="762107" y="56023"/>
                  </a:cubicBezTo>
                  <a:cubicBezTo>
                    <a:pt x="761218" y="56847"/>
                    <a:pt x="759910" y="57024"/>
                    <a:pt x="758844" y="56475"/>
                  </a:cubicBezTo>
                  <a:cubicBezTo>
                    <a:pt x="757762" y="55926"/>
                    <a:pt x="757132" y="54779"/>
                    <a:pt x="757261" y="53584"/>
                  </a:cubicBezTo>
                  <a:cubicBezTo>
                    <a:pt x="757988" y="46556"/>
                    <a:pt x="754821" y="39465"/>
                    <a:pt x="748554" y="34118"/>
                  </a:cubicBezTo>
                  <a:cubicBezTo>
                    <a:pt x="741187" y="27834"/>
                    <a:pt x="731382" y="25346"/>
                    <a:pt x="722982" y="27608"/>
                  </a:cubicBezTo>
                  <a:cubicBezTo>
                    <a:pt x="705503" y="32325"/>
                    <a:pt x="695875" y="51936"/>
                    <a:pt x="696682" y="68155"/>
                  </a:cubicBezTo>
                  <a:cubicBezTo>
                    <a:pt x="696779" y="70012"/>
                    <a:pt x="696973" y="71870"/>
                    <a:pt x="697151" y="73728"/>
                  </a:cubicBezTo>
                  <a:cubicBezTo>
                    <a:pt x="697652" y="78558"/>
                    <a:pt x="698153" y="83533"/>
                    <a:pt x="697022" y="88557"/>
                  </a:cubicBezTo>
                  <a:cubicBezTo>
                    <a:pt x="695261" y="96408"/>
                    <a:pt x="687943" y="103678"/>
                    <a:pt x="679801" y="101965"/>
                  </a:cubicBezTo>
                  <a:cubicBezTo>
                    <a:pt x="675181" y="100980"/>
                    <a:pt x="671999" y="97555"/>
                    <a:pt x="669188" y="94518"/>
                  </a:cubicBezTo>
                  <a:cubicBezTo>
                    <a:pt x="644811" y="68187"/>
                    <a:pt x="612180" y="50175"/>
                    <a:pt x="577125" y="43649"/>
                  </a:cubicBezTo>
                  <a:cubicBezTo>
                    <a:pt x="569823" y="42292"/>
                    <a:pt x="560567" y="41274"/>
                    <a:pt x="553831" y="45539"/>
                  </a:cubicBezTo>
                  <a:cubicBezTo>
                    <a:pt x="547531" y="49529"/>
                    <a:pt x="544478" y="57331"/>
                    <a:pt x="541537" y="64875"/>
                  </a:cubicBezTo>
                  <a:cubicBezTo>
                    <a:pt x="540972" y="66329"/>
                    <a:pt x="540407" y="67783"/>
                    <a:pt x="539825" y="69188"/>
                  </a:cubicBezTo>
                  <a:cubicBezTo>
                    <a:pt x="528420" y="96796"/>
                    <a:pt x="504528" y="118459"/>
                    <a:pt x="475919" y="127101"/>
                  </a:cubicBezTo>
                  <a:lnTo>
                    <a:pt x="474804" y="127441"/>
                  </a:lnTo>
                  <a:cubicBezTo>
                    <a:pt x="471444" y="128442"/>
                    <a:pt x="468262" y="129379"/>
                    <a:pt x="466114" y="131447"/>
                  </a:cubicBezTo>
                  <a:cubicBezTo>
                    <a:pt x="461477" y="135873"/>
                    <a:pt x="462996" y="144306"/>
                    <a:pt x="466776" y="149976"/>
                  </a:cubicBezTo>
                  <a:cubicBezTo>
                    <a:pt x="468811" y="153029"/>
                    <a:pt x="471347" y="155727"/>
                    <a:pt x="474045" y="158586"/>
                  </a:cubicBezTo>
                  <a:cubicBezTo>
                    <a:pt x="476937" y="161655"/>
                    <a:pt x="479925" y="164838"/>
                    <a:pt x="482316" y="168569"/>
                  </a:cubicBezTo>
                  <a:cubicBezTo>
                    <a:pt x="489796" y="180297"/>
                    <a:pt x="490054" y="196597"/>
                    <a:pt x="482978" y="210102"/>
                  </a:cubicBezTo>
                  <a:cubicBezTo>
                    <a:pt x="476808" y="221878"/>
                    <a:pt x="465532" y="231441"/>
                    <a:pt x="451236" y="237047"/>
                  </a:cubicBezTo>
                  <a:cubicBezTo>
                    <a:pt x="422093" y="248452"/>
                    <a:pt x="385989" y="239615"/>
                    <a:pt x="365408" y="216030"/>
                  </a:cubicBezTo>
                  <a:cubicBezTo>
                    <a:pt x="357735" y="207242"/>
                    <a:pt x="345280" y="201217"/>
                    <a:pt x="333665" y="200684"/>
                  </a:cubicBezTo>
                  <a:cubicBezTo>
                    <a:pt x="328189" y="200441"/>
                    <a:pt x="320435" y="201330"/>
                    <a:pt x="314442" y="207049"/>
                  </a:cubicBezTo>
                  <a:cubicBezTo>
                    <a:pt x="311841" y="209520"/>
                    <a:pt x="309676" y="212412"/>
                    <a:pt x="307382" y="215465"/>
                  </a:cubicBezTo>
                  <a:cubicBezTo>
                    <a:pt x="304798" y="218906"/>
                    <a:pt x="302132" y="222460"/>
                    <a:pt x="298756" y="225464"/>
                  </a:cubicBezTo>
                  <a:cubicBezTo>
                    <a:pt x="281229" y="240972"/>
                    <a:pt x="254687" y="234462"/>
                    <a:pt x="235512" y="226272"/>
                  </a:cubicBezTo>
                  <a:cubicBezTo>
                    <a:pt x="234268" y="225739"/>
                    <a:pt x="233024" y="225206"/>
                    <a:pt x="231781" y="224657"/>
                  </a:cubicBezTo>
                  <a:cubicBezTo>
                    <a:pt x="224107" y="221313"/>
                    <a:pt x="216160" y="217856"/>
                    <a:pt x="207985" y="216741"/>
                  </a:cubicBezTo>
                  <a:cubicBezTo>
                    <a:pt x="200005" y="215659"/>
                    <a:pt x="189311" y="217080"/>
                    <a:pt x="183173" y="224366"/>
                  </a:cubicBezTo>
                  <a:cubicBezTo>
                    <a:pt x="174546" y="234624"/>
                    <a:pt x="177583" y="250600"/>
                    <a:pt x="192429" y="273232"/>
                  </a:cubicBezTo>
                  <a:cubicBezTo>
                    <a:pt x="207953" y="296882"/>
                    <a:pt x="209892" y="317721"/>
                    <a:pt x="197647" y="328979"/>
                  </a:cubicBezTo>
                  <a:cubicBezTo>
                    <a:pt x="193624" y="332678"/>
                    <a:pt x="188116" y="335198"/>
                    <a:pt x="180798" y="336668"/>
                  </a:cubicBezTo>
                  <a:cubicBezTo>
                    <a:pt x="168020" y="339237"/>
                    <a:pt x="154774" y="338058"/>
                    <a:pt x="141963" y="336927"/>
                  </a:cubicBezTo>
                  <a:cubicBezTo>
                    <a:pt x="125712" y="335489"/>
                    <a:pt x="110366" y="334132"/>
                    <a:pt x="96166" y="339851"/>
                  </a:cubicBezTo>
                  <a:cubicBezTo>
                    <a:pt x="82790" y="345246"/>
                    <a:pt x="73001" y="355924"/>
                    <a:pt x="62630" y="367216"/>
                  </a:cubicBezTo>
                  <a:cubicBezTo>
                    <a:pt x="54973" y="375551"/>
                    <a:pt x="47057" y="384178"/>
                    <a:pt x="37526" y="390575"/>
                  </a:cubicBezTo>
                  <a:cubicBezTo>
                    <a:pt x="33795" y="393079"/>
                    <a:pt x="29837" y="395227"/>
                    <a:pt x="25992" y="397295"/>
                  </a:cubicBezTo>
                  <a:cubicBezTo>
                    <a:pt x="21194" y="399896"/>
                    <a:pt x="16671" y="402335"/>
                    <a:pt x="12520" y="405437"/>
                  </a:cubicBezTo>
                  <a:cubicBezTo>
                    <a:pt x="5137" y="410945"/>
                    <a:pt x="630" y="417972"/>
                    <a:pt x="0" y="424676"/>
                  </a:cubicBezTo>
                  <a:cubicBezTo>
                    <a:pt x="7189" y="424741"/>
                    <a:pt x="15007" y="425113"/>
                    <a:pt x="22164" y="428053"/>
                  </a:cubicBezTo>
                  <a:cubicBezTo>
                    <a:pt x="29998" y="431267"/>
                    <a:pt x="37995" y="438908"/>
                    <a:pt x="38221" y="448746"/>
                  </a:cubicBezTo>
                  <a:cubicBezTo>
                    <a:pt x="38237" y="449570"/>
                    <a:pt x="38205" y="450394"/>
                    <a:pt x="38156" y="451218"/>
                  </a:cubicBezTo>
                  <a:cubicBezTo>
                    <a:pt x="38092" y="452655"/>
                    <a:pt x="38027" y="453996"/>
                    <a:pt x="38350" y="455095"/>
                  </a:cubicBezTo>
                  <a:cubicBezTo>
                    <a:pt x="39529" y="459085"/>
                    <a:pt x="44327" y="459279"/>
                    <a:pt x="52097" y="459133"/>
                  </a:cubicBezTo>
                  <a:cubicBezTo>
                    <a:pt x="55263" y="459069"/>
                    <a:pt x="58543" y="459004"/>
                    <a:pt x="61547" y="459456"/>
                  </a:cubicBezTo>
                  <a:cubicBezTo>
                    <a:pt x="66911" y="460264"/>
                    <a:pt x="71886" y="463527"/>
                    <a:pt x="75166" y="468438"/>
                  </a:cubicBezTo>
                  <a:cubicBezTo>
                    <a:pt x="78461" y="473333"/>
                    <a:pt x="79608" y="479181"/>
                    <a:pt x="78316" y="484447"/>
                  </a:cubicBezTo>
                  <a:cubicBezTo>
                    <a:pt x="75989" y="493994"/>
                    <a:pt x="67767" y="499793"/>
                    <a:pt x="59819" y="505383"/>
                  </a:cubicBezTo>
                  <a:cubicBezTo>
                    <a:pt x="52017" y="510875"/>
                    <a:pt x="44666" y="516061"/>
                    <a:pt x="43956" y="524105"/>
                  </a:cubicBezTo>
                  <a:cubicBezTo>
                    <a:pt x="43697" y="526981"/>
                    <a:pt x="44392" y="529969"/>
                    <a:pt x="45119" y="533120"/>
                  </a:cubicBezTo>
                  <a:lnTo>
                    <a:pt x="45296" y="533911"/>
                  </a:lnTo>
                  <a:cubicBezTo>
                    <a:pt x="50062" y="554847"/>
                    <a:pt x="51177" y="576267"/>
                    <a:pt x="48624" y="597591"/>
                  </a:cubicBezTo>
                  <a:cubicBezTo>
                    <a:pt x="48301" y="600321"/>
                    <a:pt x="47930" y="603083"/>
                    <a:pt x="47558" y="605894"/>
                  </a:cubicBezTo>
                  <a:cubicBezTo>
                    <a:pt x="44844" y="626216"/>
                    <a:pt x="42033" y="647249"/>
                    <a:pt x="54666" y="661109"/>
                  </a:cubicBezTo>
                  <a:cubicBezTo>
                    <a:pt x="57428" y="664146"/>
                    <a:pt x="60788" y="666602"/>
                    <a:pt x="64326" y="669186"/>
                  </a:cubicBezTo>
                  <a:cubicBezTo>
                    <a:pt x="67767" y="671706"/>
                    <a:pt x="71337" y="674307"/>
                    <a:pt x="74390" y="677538"/>
                  </a:cubicBezTo>
                  <a:cubicBezTo>
                    <a:pt x="77783" y="681124"/>
                    <a:pt x="80497" y="685389"/>
                    <a:pt x="83129" y="689508"/>
                  </a:cubicBezTo>
                  <a:cubicBezTo>
                    <a:pt x="87669" y="696632"/>
                    <a:pt x="91966" y="703353"/>
                    <a:pt x="99058" y="705727"/>
                  </a:cubicBezTo>
                  <a:cubicBezTo>
                    <a:pt x="106666" y="708280"/>
                    <a:pt x="115066" y="705033"/>
                    <a:pt x="123951" y="701608"/>
                  </a:cubicBezTo>
                  <a:cubicBezTo>
                    <a:pt x="134565" y="697521"/>
                    <a:pt x="145533" y="693305"/>
                    <a:pt x="155339" y="699750"/>
                  </a:cubicBezTo>
                  <a:cubicBezTo>
                    <a:pt x="156017" y="700202"/>
                    <a:pt x="156486" y="700913"/>
                    <a:pt x="156615" y="701737"/>
                  </a:cubicBezTo>
                  <a:cubicBezTo>
                    <a:pt x="156744" y="702545"/>
                    <a:pt x="156518" y="703369"/>
                    <a:pt x="156001" y="704015"/>
                  </a:cubicBezTo>
                  <a:cubicBezTo>
                    <a:pt x="147569" y="714386"/>
                    <a:pt x="146567" y="730152"/>
                    <a:pt x="153626" y="741493"/>
                  </a:cubicBezTo>
                  <a:cubicBezTo>
                    <a:pt x="154305" y="742591"/>
                    <a:pt x="155064" y="743657"/>
                    <a:pt x="155823" y="744740"/>
                  </a:cubicBezTo>
                  <a:cubicBezTo>
                    <a:pt x="158408" y="748439"/>
                    <a:pt x="161090" y="752268"/>
                    <a:pt x="161510" y="757146"/>
                  </a:cubicBezTo>
                  <a:cubicBezTo>
                    <a:pt x="162447" y="768050"/>
                    <a:pt x="151801" y="775303"/>
                    <a:pt x="142399" y="778211"/>
                  </a:cubicBezTo>
                  <a:cubicBezTo>
                    <a:pt x="140655" y="778760"/>
                    <a:pt x="138846" y="779245"/>
                    <a:pt x="137036" y="779730"/>
                  </a:cubicBezTo>
                  <a:cubicBezTo>
                    <a:pt x="130138" y="781604"/>
                    <a:pt x="123628" y="783364"/>
                    <a:pt x="119541" y="788130"/>
                  </a:cubicBezTo>
                  <a:cubicBezTo>
                    <a:pt x="115729" y="792572"/>
                    <a:pt x="114695" y="799050"/>
                    <a:pt x="113677" y="805318"/>
                  </a:cubicBezTo>
                  <a:lnTo>
                    <a:pt x="113451" y="806756"/>
                  </a:lnTo>
                  <a:cubicBezTo>
                    <a:pt x="105180" y="857431"/>
                    <a:pt x="72516" y="905749"/>
                    <a:pt x="26073" y="936006"/>
                  </a:cubicBezTo>
                  <a:cubicBezTo>
                    <a:pt x="26041" y="936022"/>
                    <a:pt x="26008" y="936038"/>
                    <a:pt x="25976" y="936054"/>
                  </a:cubicBezTo>
                  <a:cubicBezTo>
                    <a:pt x="26380" y="937815"/>
                    <a:pt x="26719" y="939576"/>
                    <a:pt x="26994" y="941320"/>
                  </a:cubicBezTo>
                  <a:cubicBezTo>
                    <a:pt x="30644" y="963936"/>
                    <a:pt x="33051" y="987990"/>
                    <a:pt x="26057" y="1010783"/>
                  </a:cubicBezTo>
                  <a:cubicBezTo>
                    <a:pt x="24878" y="1014596"/>
                    <a:pt x="23117" y="1019280"/>
                    <a:pt x="19724" y="1022754"/>
                  </a:cubicBezTo>
                  <a:cubicBezTo>
                    <a:pt x="19724" y="1022786"/>
                    <a:pt x="19773" y="1022818"/>
                    <a:pt x="19773" y="1022867"/>
                  </a:cubicBezTo>
                  <a:cubicBezTo>
                    <a:pt x="25831" y="1048891"/>
                    <a:pt x="46169" y="1071022"/>
                    <a:pt x="71596" y="1079245"/>
                  </a:cubicBezTo>
                  <a:cubicBezTo>
                    <a:pt x="86764" y="1084156"/>
                    <a:pt x="103548" y="1084382"/>
                    <a:pt x="119751" y="1084608"/>
                  </a:cubicBezTo>
                  <a:cubicBezTo>
                    <a:pt x="140445" y="1084883"/>
                    <a:pt x="161849" y="1085173"/>
                    <a:pt x="180491" y="1095108"/>
                  </a:cubicBezTo>
                  <a:cubicBezTo>
                    <a:pt x="199828" y="1105415"/>
                    <a:pt x="212266" y="1123620"/>
                    <a:pt x="225400" y="1144605"/>
                  </a:cubicBezTo>
                  <a:cubicBezTo>
                    <a:pt x="231603" y="1154507"/>
                    <a:pt x="237483" y="1165121"/>
                    <a:pt x="235561" y="1176429"/>
                  </a:cubicBezTo>
                  <a:cubicBezTo>
                    <a:pt x="234010" y="1185556"/>
                    <a:pt x="227758" y="1193003"/>
                    <a:pt x="221733" y="1200224"/>
                  </a:cubicBezTo>
                  <a:cubicBezTo>
                    <a:pt x="214399" y="1208996"/>
                    <a:pt x="208050" y="1216572"/>
                    <a:pt x="210780" y="1225521"/>
                  </a:cubicBezTo>
                  <a:cubicBezTo>
                    <a:pt x="213543" y="1234568"/>
                    <a:pt x="224980" y="1238574"/>
                    <a:pt x="234091" y="1240335"/>
                  </a:cubicBezTo>
                  <a:cubicBezTo>
                    <a:pt x="244413" y="1242338"/>
                    <a:pt x="255172" y="1243356"/>
                    <a:pt x="265575" y="1244341"/>
                  </a:cubicBezTo>
                  <a:cubicBezTo>
                    <a:pt x="281309" y="1245827"/>
                    <a:pt x="297593" y="1247378"/>
                    <a:pt x="313020" y="1252353"/>
                  </a:cubicBezTo>
                  <a:cubicBezTo>
                    <a:pt x="324635" y="1256101"/>
                    <a:pt x="335571" y="1261723"/>
                    <a:pt x="346152" y="1267183"/>
                  </a:cubicBezTo>
                  <a:cubicBezTo>
                    <a:pt x="354569" y="1271512"/>
                    <a:pt x="363260" y="1275987"/>
                    <a:pt x="372144" y="1279428"/>
                  </a:cubicBezTo>
                  <a:cubicBezTo>
                    <a:pt x="383242" y="1283709"/>
                    <a:pt x="411238" y="1292044"/>
                    <a:pt x="431398" y="1276876"/>
                  </a:cubicBezTo>
                  <a:cubicBezTo>
                    <a:pt x="436471" y="1273063"/>
                    <a:pt x="440509" y="1268120"/>
                    <a:pt x="444774" y="1262902"/>
                  </a:cubicBezTo>
                  <a:cubicBezTo>
                    <a:pt x="449006" y="1257733"/>
                    <a:pt x="453384" y="1252402"/>
                    <a:pt x="458876" y="1248186"/>
                  </a:cubicBezTo>
                  <a:cubicBezTo>
                    <a:pt x="466178" y="1242596"/>
                    <a:pt x="477098" y="1240383"/>
                    <a:pt x="485434" y="1242839"/>
                  </a:cubicBezTo>
                  <a:cubicBezTo>
                    <a:pt x="491201" y="1244535"/>
                    <a:pt x="495417" y="1248331"/>
                    <a:pt x="497291" y="1253533"/>
                  </a:cubicBezTo>
                  <a:cubicBezTo>
                    <a:pt x="499359" y="1259267"/>
                    <a:pt x="498325" y="1265487"/>
                    <a:pt x="497323" y="1271512"/>
                  </a:cubicBezTo>
                  <a:cubicBezTo>
                    <a:pt x="495966" y="1279670"/>
                    <a:pt x="495433" y="1284856"/>
                    <a:pt x="499391" y="1288006"/>
                  </a:cubicBezTo>
                  <a:cubicBezTo>
                    <a:pt x="501459" y="1289653"/>
                    <a:pt x="504496" y="1290251"/>
                    <a:pt x="507711" y="1290897"/>
                  </a:cubicBezTo>
                  <a:cubicBezTo>
                    <a:pt x="512298" y="1291802"/>
                    <a:pt x="517516" y="1292836"/>
                    <a:pt x="520408" y="1297488"/>
                  </a:cubicBezTo>
                  <a:cubicBezTo>
                    <a:pt x="522169" y="1300315"/>
                    <a:pt x="522330" y="1303481"/>
                    <a:pt x="522492" y="1306276"/>
                  </a:cubicBezTo>
                  <a:cubicBezTo>
                    <a:pt x="522589" y="1308102"/>
                    <a:pt x="522686" y="1309846"/>
                    <a:pt x="523186" y="1311300"/>
                  </a:cubicBezTo>
                  <a:cubicBezTo>
                    <a:pt x="525044" y="1316679"/>
                    <a:pt x="532523" y="1318699"/>
                    <a:pt x="538824" y="1319846"/>
                  </a:cubicBezTo>
                  <a:lnTo>
                    <a:pt x="640401" y="1338342"/>
                  </a:lnTo>
                  <a:cubicBezTo>
                    <a:pt x="646330" y="1339425"/>
                    <a:pt x="653034" y="1340652"/>
                    <a:pt x="658736" y="1338455"/>
                  </a:cubicBezTo>
                  <a:cubicBezTo>
                    <a:pt x="662516" y="1337001"/>
                    <a:pt x="665666" y="1334142"/>
                    <a:pt x="668994" y="1331121"/>
                  </a:cubicBezTo>
                  <a:cubicBezTo>
                    <a:pt x="669737" y="1330443"/>
                    <a:pt x="670480" y="1329781"/>
                    <a:pt x="671223" y="1329118"/>
                  </a:cubicBezTo>
                  <a:cubicBezTo>
                    <a:pt x="687911" y="1314466"/>
                    <a:pt x="710187" y="1306535"/>
                    <a:pt x="732383" y="1307407"/>
                  </a:cubicBezTo>
                  <a:cubicBezTo>
                    <a:pt x="735113" y="1307520"/>
                    <a:pt x="737779" y="1307682"/>
                    <a:pt x="740380" y="1307859"/>
                  </a:cubicBezTo>
                  <a:cubicBezTo>
                    <a:pt x="753158" y="1308683"/>
                    <a:pt x="764191" y="1309410"/>
                    <a:pt x="773996" y="1301285"/>
                  </a:cubicBezTo>
                  <a:cubicBezTo>
                    <a:pt x="773996" y="1301285"/>
                    <a:pt x="774029" y="1301285"/>
                    <a:pt x="774045" y="1301268"/>
                  </a:cubicBezTo>
                  <a:cubicBezTo>
                    <a:pt x="774239" y="1301107"/>
                    <a:pt x="774465" y="1300961"/>
                    <a:pt x="774707" y="1300864"/>
                  </a:cubicBezTo>
                  <a:cubicBezTo>
                    <a:pt x="792897" y="1293030"/>
                    <a:pt x="813510" y="1284145"/>
                    <a:pt x="828388" y="1269348"/>
                  </a:cubicBezTo>
                  <a:cubicBezTo>
                    <a:pt x="833767" y="1263984"/>
                    <a:pt x="838533" y="1257733"/>
                    <a:pt x="843120" y="1251691"/>
                  </a:cubicBezTo>
                  <a:cubicBezTo>
                    <a:pt x="848758" y="1244276"/>
                    <a:pt x="854590" y="1236603"/>
                    <a:pt x="861795" y="1230254"/>
                  </a:cubicBezTo>
                  <a:cubicBezTo>
                    <a:pt x="880049" y="1214132"/>
                    <a:pt x="906994" y="1207962"/>
                    <a:pt x="930434" y="1214504"/>
                  </a:cubicBezTo>
                  <a:cubicBezTo>
                    <a:pt x="953890" y="1221047"/>
                    <a:pt x="973727" y="1240302"/>
                    <a:pt x="980980" y="1263532"/>
                  </a:cubicBezTo>
                  <a:lnTo>
                    <a:pt x="981368" y="1264792"/>
                  </a:lnTo>
                  <a:cubicBezTo>
                    <a:pt x="982467" y="1268395"/>
                    <a:pt x="983500" y="1271787"/>
                    <a:pt x="985907" y="1273661"/>
                  </a:cubicBezTo>
                  <a:cubicBezTo>
                    <a:pt x="988993" y="1276068"/>
                    <a:pt x="993920" y="1275518"/>
                    <a:pt x="998298" y="1274824"/>
                  </a:cubicBezTo>
                  <a:cubicBezTo>
                    <a:pt x="1021301" y="1271141"/>
                    <a:pt x="1044256" y="1265842"/>
                    <a:pt x="1066549" y="1259057"/>
                  </a:cubicBezTo>
                  <a:cubicBezTo>
                    <a:pt x="1066598" y="1259057"/>
                    <a:pt x="1066646" y="1259057"/>
                    <a:pt x="1066711" y="1259057"/>
                  </a:cubicBezTo>
                  <a:cubicBezTo>
                    <a:pt x="1066937" y="1258460"/>
                    <a:pt x="1067179" y="1257878"/>
                    <a:pt x="1067438" y="1257313"/>
                  </a:cubicBezTo>
                  <a:cubicBezTo>
                    <a:pt x="1068698" y="1254728"/>
                    <a:pt x="1070265" y="1252370"/>
                    <a:pt x="1071783" y="1250092"/>
                  </a:cubicBezTo>
                  <a:cubicBezTo>
                    <a:pt x="1073560" y="1247442"/>
                    <a:pt x="1075224" y="1244922"/>
                    <a:pt x="1076339" y="1242192"/>
                  </a:cubicBezTo>
                  <a:cubicBezTo>
                    <a:pt x="1078584" y="1236684"/>
                    <a:pt x="1078503" y="1230481"/>
                    <a:pt x="1078406" y="1223922"/>
                  </a:cubicBezTo>
                  <a:cubicBezTo>
                    <a:pt x="1078309" y="1216233"/>
                    <a:pt x="1078196" y="1208285"/>
                    <a:pt x="1082041" y="1201193"/>
                  </a:cubicBezTo>
                  <a:cubicBezTo>
                    <a:pt x="1082526" y="1200288"/>
                    <a:pt x="1083463" y="1199707"/>
                    <a:pt x="1084496" y="1199675"/>
                  </a:cubicBezTo>
                  <a:cubicBezTo>
                    <a:pt x="1095126" y="1199303"/>
                    <a:pt x="1100990" y="1196961"/>
                    <a:pt x="1102928" y="1192308"/>
                  </a:cubicBezTo>
                  <a:cubicBezTo>
                    <a:pt x="1104269" y="1189126"/>
                    <a:pt x="1103445" y="1185330"/>
                    <a:pt x="1102589" y="1181323"/>
                  </a:cubicBezTo>
                  <a:cubicBezTo>
                    <a:pt x="1102008" y="1178593"/>
                    <a:pt x="1101394" y="1175766"/>
                    <a:pt x="1101378" y="1172859"/>
                  </a:cubicBezTo>
                  <a:cubicBezTo>
                    <a:pt x="1101329" y="1164135"/>
                    <a:pt x="1106628" y="1156769"/>
                    <a:pt x="1111280" y="1150259"/>
                  </a:cubicBezTo>
                  <a:cubicBezTo>
                    <a:pt x="1111959" y="1149306"/>
                    <a:pt x="1112637" y="1148369"/>
                    <a:pt x="1113283" y="1147432"/>
                  </a:cubicBezTo>
                  <a:cubicBezTo>
                    <a:pt x="1125108" y="1130470"/>
                    <a:pt x="1131715" y="1109744"/>
                    <a:pt x="1131893" y="1089067"/>
                  </a:cubicBezTo>
                  <a:cubicBezTo>
                    <a:pt x="1131893" y="1087047"/>
                    <a:pt x="1131877" y="1085012"/>
                    <a:pt x="1131844" y="1082960"/>
                  </a:cubicBezTo>
                  <a:cubicBezTo>
                    <a:pt x="1131667" y="1072557"/>
                    <a:pt x="1131489" y="1061798"/>
                    <a:pt x="1137450" y="1052897"/>
                  </a:cubicBezTo>
                  <a:cubicBezTo>
                    <a:pt x="1138807" y="1050862"/>
                    <a:pt x="1140503" y="1048891"/>
                    <a:pt x="1142135" y="1046985"/>
                  </a:cubicBezTo>
                  <a:cubicBezTo>
                    <a:pt x="1144574" y="1044142"/>
                    <a:pt x="1146480" y="1041799"/>
                    <a:pt x="1147482" y="1039732"/>
                  </a:cubicBezTo>
                  <a:lnTo>
                    <a:pt x="1145172" y="1033787"/>
                  </a:lnTo>
                  <a:cubicBezTo>
                    <a:pt x="1145043" y="1033448"/>
                    <a:pt x="1144978" y="1033092"/>
                    <a:pt x="1144978" y="1032737"/>
                  </a:cubicBezTo>
                  <a:cubicBezTo>
                    <a:pt x="1144978" y="1031348"/>
                    <a:pt x="1145979" y="1030136"/>
                    <a:pt x="1147352" y="1029878"/>
                  </a:cubicBezTo>
                  <a:cubicBezTo>
                    <a:pt x="1147708" y="1029813"/>
                    <a:pt x="1148063" y="1029813"/>
                    <a:pt x="1148403" y="1029878"/>
                  </a:cubicBezTo>
                  <a:cubicBezTo>
                    <a:pt x="1148403" y="1029878"/>
                    <a:pt x="1148435" y="1029878"/>
                    <a:pt x="1148451" y="1029878"/>
                  </a:cubicBezTo>
                  <a:cubicBezTo>
                    <a:pt x="1148532" y="1029878"/>
                    <a:pt x="1148613" y="1029845"/>
                    <a:pt x="1148693" y="1029829"/>
                  </a:cubicBezTo>
                  <a:cubicBezTo>
                    <a:pt x="1149097" y="1026534"/>
                    <a:pt x="1149549" y="1023157"/>
                    <a:pt x="1150406" y="1019830"/>
                  </a:cubicBezTo>
                  <a:cubicBezTo>
                    <a:pt x="1152796" y="1010476"/>
                    <a:pt x="1158014" y="1002367"/>
                    <a:pt x="1163054" y="994532"/>
                  </a:cubicBezTo>
                  <a:cubicBezTo>
                    <a:pt x="1166899" y="988555"/>
                    <a:pt x="1170889" y="982368"/>
                    <a:pt x="1173425" y="975826"/>
                  </a:cubicBezTo>
                  <a:cubicBezTo>
                    <a:pt x="1180356" y="957927"/>
                    <a:pt x="1176672" y="936797"/>
                    <a:pt x="1173716" y="919835"/>
                  </a:cubicBezTo>
                  <a:lnTo>
                    <a:pt x="1167965" y="886832"/>
                  </a:lnTo>
                  <a:lnTo>
                    <a:pt x="1167933" y="886929"/>
                  </a:lnTo>
                  <a:close/>
                  <a:moveTo>
                    <a:pt x="610031" y="1056920"/>
                  </a:moveTo>
                  <a:cubicBezTo>
                    <a:pt x="611259" y="1061055"/>
                    <a:pt x="612535" y="1065336"/>
                    <a:pt x="613407" y="1069698"/>
                  </a:cubicBezTo>
                  <a:cubicBezTo>
                    <a:pt x="616186" y="1083817"/>
                    <a:pt x="612891" y="1096110"/>
                    <a:pt x="604604" y="1102572"/>
                  </a:cubicBezTo>
                  <a:cubicBezTo>
                    <a:pt x="600129" y="1106061"/>
                    <a:pt x="594766" y="1107499"/>
                    <a:pt x="589596" y="1108888"/>
                  </a:cubicBezTo>
                  <a:cubicBezTo>
                    <a:pt x="585105" y="1110099"/>
                    <a:pt x="580857" y="1111230"/>
                    <a:pt x="577384" y="1113605"/>
                  </a:cubicBezTo>
                  <a:cubicBezTo>
                    <a:pt x="575348" y="1114994"/>
                    <a:pt x="573555" y="1116836"/>
                    <a:pt x="571681" y="1118790"/>
                  </a:cubicBezTo>
                  <a:cubicBezTo>
                    <a:pt x="569339" y="1121213"/>
                    <a:pt x="566916" y="1123717"/>
                    <a:pt x="563798" y="1125543"/>
                  </a:cubicBezTo>
                  <a:cubicBezTo>
                    <a:pt x="555689" y="1130292"/>
                    <a:pt x="546416" y="1128758"/>
                    <a:pt x="537451" y="1127271"/>
                  </a:cubicBezTo>
                  <a:cubicBezTo>
                    <a:pt x="529228" y="1125914"/>
                    <a:pt x="521474" y="1124638"/>
                    <a:pt x="515158" y="1128111"/>
                  </a:cubicBezTo>
                  <a:cubicBezTo>
                    <a:pt x="510909" y="1130454"/>
                    <a:pt x="507969" y="1134654"/>
                    <a:pt x="504867" y="1139112"/>
                  </a:cubicBezTo>
                  <a:cubicBezTo>
                    <a:pt x="501830" y="1143458"/>
                    <a:pt x="498696" y="1147965"/>
                    <a:pt x="494060" y="1151050"/>
                  </a:cubicBezTo>
                  <a:cubicBezTo>
                    <a:pt x="490006" y="1153748"/>
                    <a:pt x="485515" y="1154943"/>
                    <a:pt x="480895" y="1154943"/>
                  </a:cubicBezTo>
                  <a:cubicBezTo>
                    <a:pt x="469587" y="1154943"/>
                    <a:pt x="457519" y="1147820"/>
                    <a:pt x="449216" y="1138321"/>
                  </a:cubicBezTo>
                  <a:cubicBezTo>
                    <a:pt x="446147" y="1134815"/>
                    <a:pt x="443304" y="1131019"/>
                    <a:pt x="440541" y="1127352"/>
                  </a:cubicBezTo>
                  <a:cubicBezTo>
                    <a:pt x="433805" y="1118386"/>
                    <a:pt x="427440" y="1109922"/>
                    <a:pt x="418168" y="1105189"/>
                  </a:cubicBezTo>
                  <a:lnTo>
                    <a:pt x="417473" y="1104849"/>
                  </a:lnTo>
                  <a:cubicBezTo>
                    <a:pt x="415179" y="1103702"/>
                    <a:pt x="412320" y="1102265"/>
                    <a:pt x="410882" y="1099308"/>
                  </a:cubicBezTo>
                  <a:cubicBezTo>
                    <a:pt x="409235" y="1095900"/>
                    <a:pt x="410301" y="1092249"/>
                    <a:pt x="411545" y="1089131"/>
                  </a:cubicBezTo>
                  <a:cubicBezTo>
                    <a:pt x="416762" y="1076175"/>
                    <a:pt x="424129" y="1064335"/>
                    <a:pt x="433466" y="1053947"/>
                  </a:cubicBezTo>
                  <a:cubicBezTo>
                    <a:pt x="435550" y="1051621"/>
                    <a:pt x="437747" y="1049376"/>
                    <a:pt x="439863" y="1047195"/>
                  </a:cubicBezTo>
                  <a:cubicBezTo>
                    <a:pt x="444144" y="1042785"/>
                    <a:pt x="448199" y="1038617"/>
                    <a:pt x="451575" y="1033835"/>
                  </a:cubicBezTo>
                  <a:cubicBezTo>
                    <a:pt x="457390" y="1025613"/>
                    <a:pt x="460944" y="1015807"/>
                    <a:pt x="464369" y="1006341"/>
                  </a:cubicBezTo>
                  <a:cubicBezTo>
                    <a:pt x="466243" y="1001172"/>
                    <a:pt x="467147" y="994775"/>
                    <a:pt x="468003" y="988604"/>
                  </a:cubicBezTo>
                  <a:cubicBezTo>
                    <a:pt x="469877" y="975212"/>
                    <a:pt x="471816" y="961351"/>
                    <a:pt x="483641" y="955568"/>
                  </a:cubicBezTo>
                  <a:cubicBezTo>
                    <a:pt x="494674" y="950141"/>
                    <a:pt x="506047" y="957264"/>
                    <a:pt x="517048" y="964146"/>
                  </a:cubicBezTo>
                  <a:cubicBezTo>
                    <a:pt x="522427" y="967522"/>
                    <a:pt x="528000" y="970995"/>
                    <a:pt x="533121" y="972643"/>
                  </a:cubicBezTo>
                  <a:cubicBezTo>
                    <a:pt x="540051" y="974872"/>
                    <a:pt x="547191" y="977166"/>
                    <a:pt x="554332" y="976536"/>
                  </a:cubicBezTo>
                  <a:cubicBezTo>
                    <a:pt x="558984" y="976116"/>
                    <a:pt x="563507" y="974485"/>
                    <a:pt x="568305" y="972740"/>
                  </a:cubicBezTo>
                  <a:cubicBezTo>
                    <a:pt x="575074" y="970285"/>
                    <a:pt x="582068" y="967748"/>
                    <a:pt x="589580" y="968863"/>
                  </a:cubicBezTo>
                  <a:cubicBezTo>
                    <a:pt x="601421" y="970608"/>
                    <a:pt x="609240" y="980672"/>
                    <a:pt x="612600" y="989508"/>
                  </a:cubicBezTo>
                  <a:cubicBezTo>
                    <a:pt x="616299" y="999249"/>
                    <a:pt x="616412" y="1009992"/>
                    <a:pt x="616509" y="1019474"/>
                  </a:cubicBezTo>
                  <a:cubicBezTo>
                    <a:pt x="616541" y="1022479"/>
                    <a:pt x="616218" y="1032721"/>
                    <a:pt x="610855" y="1038132"/>
                  </a:cubicBezTo>
                  <a:cubicBezTo>
                    <a:pt x="609514" y="1039473"/>
                    <a:pt x="607964" y="1040426"/>
                    <a:pt x="606251" y="1040943"/>
                  </a:cubicBezTo>
                  <a:cubicBezTo>
                    <a:pt x="606914" y="1046258"/>
                    <a:pt x="608464" y="1051444"/>
                    <a:pt x="610080" y="1056887"/>
                  </a:cubicBezTo>
                  <a:lnTo>
                    <a:pt x="610031" y="105692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0" name="Free-form: Shape 319">
              <a:extLst>
                <a:ext uri="{FF2B5EF4-FFF2-40B4-BE49-F238E27FC236}">
                  <a16:creationId xmlns:a16="http://schemas.microsoft.com/office/drawing/2014/main" id="{AF540727-80DA-7611-742B-04A1711CDCA4}"/>
                </a:ext>
              </a:extLst>
            </p:cNvPr>
            <p:cNvSpPr/>
            <p:nvPr/>
          </p:nvSpPr>
          <p:spPr>
            <a:xfrm>
              <a:off x="5404355" y="3830057"/>
              <a:ext cx="31267" cy="18235"/>
            </a:xfrm>
            <a:custGeom>
              <a:avLst/>
              <a:gdLst>
                <a:gd name="connsiteX0" fmla="*/ 1746 w 31267"/>
                <a:gd name="connsiteY0" fmla="*/ 15896 h 18235"/>
                <a:gd name="connsiteX1" fmla="*/ 9791 w 31267"/>
                <a:gd name="connsiteY1" fmla="*/ 18044 h 18235"/>
                <a:gd name="connsiteX2" fmla="*/ 17949 w 31267"/>
                <a:gd name="connsiteY2" fmla="*/ 18206 h 18235"/>
                <a:gd name="connsiteX3" fmla="*/ 27222 w 31267"/>
                <a:gd name="connsiteY3" fmla="*/ 17188 h 18235"/>
                <a:gd name="connsiteX4" fmla="*/ 31260 w 31267"/>
                <a:gd name="connsiteY4" fmla="*/ 12019 h 18235"/>
                <a:gd name="connsiteX5" fmla="*/ 24217 w 31267"/>
                <a:gd name="connsiteY5" fmla="*/ 6397 h 18235"/>
                <a:gd name="connsiteX6" fmla="*/ 20437 w 31267"/>
                <a:gd name="connsiteY6" fmla="*/ 5735 h 18235"/>
                <a:gd name="connsiteX7" fmla="*/ 10486 w 31267"/>
                <a:gd name="connsiteY7" fmla="*/ 2795 h 18235"/>
                <a:gd name="connsiteX8" fmla="*/ 10276 w 31267"/>
                <a:gd name="connsiteY8" fmla="*/ 2649 h 18235"/>
                <a:gd name="connsiteX9" fmla="*/ 3879 w 31267"/>
                <a:gd name="connsiteY9" fmla="*/ 0 h 18235"/>
                <a:gd name="connsiteX10" fmla="*/ 3749 w 31267"/>
                <a:gd name="connsiteY10" fmla="*/ 0 h 18235"/>
                <a:gd name="connsiteX11" fmla="*/ 535 w 31267"/>
                <a:gd name="connsiteY11" fmla="*/ 2875 h 18235"/>
                <a:gd name="connsiteX12" fmla="*/ 196 w 31267"/>
                <a:gd name="connsiteY12" fmla="*/ 10048 h 18235"/>
                <a:gd name="connsiteX13" fmla="*/ 1746 w 31267"/>
                <a:gd name="connsiteY13" fmla="*/ 15896 h 1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267" h="18235">
                  <a:moveTo>
                    <a:pt x="1746" y="15896"/>
                  </a:moveTo>
                  <a:cubicBezTo>
                    <a:pt x="3313" y="17770"/>
                    <a:pt x="6722" y="17996"/>
                    <a:pt x="9791" y="18044"/>
                  </a:cubicBezTo>
                  <a:lnTo>
                    <a:pt x="17949" y="18206"/>
                  </a:lnTo>
                  <a:cubicBezTo>
                    <a:pt x="21164" y="18270"/>
                    <a:pt x="24475" y="18335"/>
                    <a:pt x="27222" y="17188"/>
                  </a:cubicBezTo>
                  <a:cubicBezTo>
                    <a:pt x="29289" y="16332"/>
                    <a:pt x="31405" y="14232"/>
                    <a:pt x="31260" y="12019"/>
                  </a:cubicBezTo>
                  <a:cubicBezTo>
                    <a:pt x="31082" y="9208"/>
                    <a:pt x="27480" y="7124"/>
                    <a:pt x="24217" y="6397"/>
                  </a:cubicBezTo>
                  <a:cubicBezTo>
                    <a:pt x="22973" y="6123"/>
                    <a:pt x="21697" y="5929"/>
                    <a:pt x="20437" y="5735"/>
                  </a:cubicBezTo>
                  <a:cubicBezTo>
                    <a:pt x="17093" y="5234"/>
                    <a:pt x="13652" y="4701"/>
                    <a:pt x="10486" y="2795"/>
                  </a:cubicBezTo>
                  <a:cubicBezTo>
                    <a:pt x="10421" y="2746"/>
                    <a:pt x="10340" y="2714"/>
                    <a:pt x="10276" y="2649"/>
                  </a:cubicBezTo>
                  <a:cubicBezTo>
                    <a:pt x="8035" y="1018"/>
                    <a:pt x="5903" y="145"/>
                    <a:pt x="3879" y="0"/>
                  </a:cubicBezTo>
                  <a:cubicBezTo>
                    <a:pt x="3879" y="0"/>
                    <a:pt x="3782" y="0"/>
                    <a:pt x="3749" y="0"/>
                  </a:cubicBezTo>
                  <a:cubicBezTo>
                    <a:pt x="2409" y="0"/>
                    <a:pt x="1052" y="1470"/>
                    <a:pt x="535" y="2875"/>
                  </a:cubicBezTo>
                  <a:cubicBezTo>
                    <a:pt x="-225" y="4975"/>
                    <a:pt x="-14" y="7560"/>
                    <a:pt x="196" y="10048"/>
                  </a:cubicBezTo>
                  <a:cubicBezTo>
                    <a:pt x="406" y="12487"/>
                    <a:pt x="664" y="14603"/>
                    <a:pt x="1746" y="1589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1" name="Free-form: Shape 320">
              <a:extLst>
                <a:ext uri="{FF2B5EF4-FFF2-40B4-BE49-F238E27FC236}">
                  <a16:creationId xmlns:a16="http://schemas.microsoft.com/office/drawing/2014/main" id="{D02AD457-FF83-C0E1-DE53-C3812E1002C5}"/>
                </a:ext>
              </a:extLst>
            </p:cNvPr>
            <p:cNvSpPr/>
            <p:nvPr/>
          </p:nvSpPr>
          <p:spPr>
            <a:xfrm>
              <a:off x="5307395" y="3454740"/>
              <a:ext cx="13865" cy="18924"/>
            </a:xfrm>
            <a:custGeom>
              <a:avLst/>
              <a:gdLst>
                <a:gd name="connsiteX0" fmla="*/ 11555 w 13865"/>
                <a:gd name="connsiteY0" fmla="*/ 910 h 18924"/>
                <a:gd name="connsiteX1" fmla="*/ 3009 w 13865"/>
                <a:gd name="connsiteY1" fmla="*/ 3091 h 18924"/>
                <a:gd name="connsiteX2" fmla="*/ 522 w 13865"/>
                <a:gd name="connsiteY2" fmla="*/ 10829 h 18924"/>
                <a:gd name="connsiteX3" fmla="*/ 182 w 13865"/>
                <a:gd name="connsiteY3" fmla="*/ 16596 h 18924"/>
                <a:gd name="connsiteX4" fmla="*/ 2266 w 13865"/>
                <a:gd name="connsiteY4" fmla="*/ 18922 h 18924"/>
                <a:gd name="connsiteX5" fmla="*/ 5562 w 13865"/>
                <a:gd name="connsiteY5" fmla="*/ 17113 h 18924"/>
                <a:gd name="connsiteX6" fmla="*/ 13283 w 13865"/>
                <a:gd name="connsiteY6" fmla="*/ 8648 h 18924"/>
                <a:gd name="connsiteX7" fmla="*/ 11539 w 13865"/>
                <a:gd name="connsiteY7" fmla="*/ 927 h 18924"/>
                <a:gd name="connsiteX8" fmla="*/ 11555 w 13865"/>
                <a:gd name="connsiteY8" fmla="*/ 910 h 18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65" h="18924">
                  <a:moveTo>
                    <a:pt x="11555" y="910"/>
                  </a:moveTo>
                  <a:cubicBezTo>
                    <a:pt x="9762" y="6"/>
                    <a:pt x="7209" y="-1303"/>
                    <a:pt x="3009" y="3091"/>
                  </a:cubicBezTo>
                  <a:cubicBezTo>
                    <a:pt x="1572" y="5224"/>
                    <a:pt x="1038" y="8067"/>
                    <a:pt x="522" y="10829"/>
                  </a:cubicBezTo>
                  <a:cubicBezTo>
                    <a:pt x="150" y="12816"/>
                    <a:pt x="-238" y="14884"/>
                    <a:pt x="182" y="16596"/>
                  </a:cubicBezTo>
                  <a:cubicBezTo>
                    <a:pt x="489" y="17824"/>
                    <a:pt x="1442" y="18890"/>
                    <a:pt x="2266" y="18922"/>
                  </a:cubicBezTo>
                  <a:cubicBezTo>
                    <a:pt x="3203" y="18971"/>
                    <a:pt x="4399" y="18050"/>
                    <a:pt x="5562" y="17113"/>
                  </a:cubicBezTo>
                  <a:cubicBezTo>
                    <a:pt x="8518" y="14755"/>
                    <a:pt x="11862" y="12073"/>
                    <a:pt x="13283" y="8648"/>
                  </a:cubicBezTo>
                  <a:cubicBezTo>
                    <a:pt x="14398" y="5983"/>
                    <a:pt x="13962" y="2154"/>
                    <a:pt x="11539" y="927"/>
                  </a:cubicBezTo>
                  <a:lnTo>
                    <a:pt x="11555" y="91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2" name="Free-form: Shape 321">
              <a:extLst>
                <a:ext uri="{FF2B5EF4-FFF2-40B4-BE49-F238E27FC236}">
                  <a16:creationId xmlns:a16="http://schemas.microsoft.com/office/drawing/2014/main" id="{E23A76B5-16BE-AE4F-D3EC-7B8D495759E4}"/>
                </a:ext>
              </a:extLst>
            </p:cNvPr>
            <p:cNvSpPr/>
            <p:nvPr/>
          </p:nvSpPr>
          <p:spPr>
            <a:xfrm>
              <a:off x="5150017" y="2645033"/>
              <a:ext cx="15037" cy="15670"/>
            </a:xfrm>
            <a:custGeom>
              <a:avLst/>
              <a:gdLst>
                <a:gd name="connsiteX0" fmla="*/ 2253 w 15037"/>
                <a:gd name="connsiteY0" fmla="*/ 15298 h 15670"/>
                <a:gd name="connsiteX1" fmla="*/ 5000 w 15037"/>
                <a:gd name="connsiteY1" fmla="*/ 15653 h 15670"/>
                <a:gd name="connsiteX2" fmla="*/ 13933 w 15037"/>
                <a:gd name="connsiteY2" fmla="*/ 11825 h 15670"/>
                <a:gd name="connsiteX3" fmla="*/ 14337 w 15037"/>
                <a:gd name="connsiteY3" fmla="*/ 3893 h 15670"/>
                <a:gd name="connsiteX4" fmla="*/ 6583 w 15037"/>
                <a:gd name="connsiteY4" fmla="*/ 0 h 15670"/>
                <a:gd name="connsiteX5" fmla="*/ 2447 w 15037"/>
                <a:gd name="connsiteY5" fmla="*/ 2342 h 15670"/>
                <a:gd name="connsiteX6" fmla="*/ 267 w 15037"/>
                <a:gd name="connsiteY6" fmla="*/ 12148 h 15670"/>
                <a:gd name="connsiteX7" fmla="*/ 2253 w 15037"/>
                <a:gd name="connsiteY7" fmla="*/ 15282 h 15670"/>
                <a:gd name="connsiteX8" fmla="*/ 2253 w 15037"/>
                <a:gd name="connsiteY8" fmla="*/ 15298 h 1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37" h="15670">
                  <a:moveTo>
                    <a:pt x="2253" y="15298"/>
                  </a:moveTo>
                  <a:cubicBezTo>
                    <a:pt x="2851" y="15605"/>
                    <a:pt x="3724" y="15718"/>
                    <a:pt x="5000" y="15653"/>
                  </a:cubicBezTo>
                  <a:cubicBezTo>
                    <a:pt x="8651" y="15460"/>
                    <a:pt x="11914" y="14070"/>
                    <a:pt x="13933" y="11825"/>
                  </a:cubicBezTo>
                  <a:cubicBezTo>
                    <a:pt x="14611" y="11066"/>
                    <a:pt x="15807" y="7172"/>
                    <a:pt x="14337" y="3893"/>
                  </a:cubicBezTo>
                  <a:cubicBezTo>
                    <a:pt x="13190" y="1308"/>
                    <a:pt x="10573" y="0"/>
                    <a:pt x="6583" y="0"/>
                  </a:cubicBezTo>
                  <a:cubicBezTo>
                    <a:pt x="4693" y="0"/>
                    <a:pt x="3287" y="1276"/>
                    <a:pt x="2447" y="2342"/>
                  </a:cubicBezTo>
                  <a:cubicBezTo>
                    <a:pt x="412" y="4943"/>
                    <a:pt x="-493" y="9062"/>
                    <a:pt x="267" y="12148"/>
                  </a:cubicBezTo>
                  <a:cubicBezTo>
                    <a:pt x="638" y="13666"/>
                    <a:pt x="1381" y="14830"/>
                    <a:pt x="2253" y="15282"/>
                  </a:cubicBezTo>
                  <a:lnTo>
                    <a:pt x="2253" y="152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3" name="Free-form: Shape 322">
              <a:extLst>
                <a:ext uri="{FF2B5EF4-FFF2-40B4-BE49-F238E27FC236}">
                  <a16:creationId xmlns:a16="http://schemas.microsoft.com/office/drawing/2014/main" id="{BD5A208F-14AC-8950-87D7-76DAB304C5AB}"/>
                </a:ext>
              </a:extLst>
            </p:cNvPr>
            <p:cNvSpPr/>
            <p:nvPr/>
          </p:nvSpPr>
          <p:spPr>
            <a:xfrm>
              <a:off x="6229408" y="4695528"/>
              <a:ext cx="53826" cy="26272"/>
            </a:xfrm>
            <a:custGeom>
              <a:avLst/>
              <a:gdLst>
                <a:gd name="connsiteX0" fmla="*/ 51120 w 53826"/>
                <a:gd name="connsiteY0" fmla="*/ 4303 h 26272"/>
                <a:gd name="connsiteX1" fmla="*/ 35887 w 53826"/>
                <a:gd name="connsiteY1" fmla="*/ 684 h 26272"/>
                <a:gd name="connsiteX2" fmla="*/ 32495 w 53826"/>
                <a:gd name="connsiteY2" fmla="*/ 1912 h 26272"/>
                <a:gd name="connsiteX3" fmla="*/ 27697 w 53826"/>
                <a:gd name="connsiteY3" fmla="*/ 3544 h 26272"/>
                <a:gd name="connsiteX4" fmla="*/ 15597 w 53826"/>
                <a:gd name="connsiteY4" fmla="*/ 3625 h 26272"/>
                <a:gd name="connsiteX5" fmla="*/ 9653 w 53826"/>
                <a:gd name="connsiteY5" fmla="*/ 3188 h 26272"/>
                <a:gd name="connsiteX6" fmla="*/ 2626 w 53826"/>
                <a:gd name="connsiteY6" fmla="*/ 5208 h 26272"/>
                <a:gd name="connsiteX7" fmla="*/ 396 w 53826"/>
                <a:gd name="connsiteY7" fmla="*/ 13285 h 26272"/>
                <a:gd name="connsiteX8" fmla="*/ 12690 w 53826"/>
                <a:gd name="connsiteY8" fmla="*/ 20473 h 26272"/>
                <a:gd name="connsiteX9" fmla="*/ 17536 w 53826"/>
                <a:gd name="connsiteY9" fmla="*/ 20926 h 26272"/>
                <a:gd name="connsiteX10" fmla="*/ 31331 w 53826"/>
                <a:gd name="connsiteY10" fmla="*/ 23769 h 26272"/>
                <a:gd name="connsiteX11" fmla="*/ 33076 w 53826"/>
                <a:gd name="connsiteY11" fmla="*/ 24657 h 26272"/>
                <a:gd name="connsiteX12" fmla="*/ 37971 w 53826"/>
                <a:gd name="connsiteY12" fmla="*/ 26176 h 26272"/>
                <a:gd name="connsiteX13" fmla="*/ 40879 w 53826"/>
                <a:gd name="connsiteY13" fmla="*/ 22331 h 26272"/>
                <a:gd name="connsiteX14" fmla="*/ 44384 w 53826"/>
                <a:gd name="connsiteY14" fmla="*/ 17065 h 26272"/>
                <a:gd name="connsiteX15" fmla="*/ 49408 w 53826"/>
                <a:gd name="connsiteY15" fmla="*/ 14157 h 26272"/>
                <a:gd name="connsiteX16" fmla="*/ 52800 w 53826"/>
                <a:gd name="connsiteY16" fmla="*/ 12283 h 26272"/>
                <a:gd name="connsiteX17" fmla="*/ 53818 w 53826"/>
                <a:gd name="connsiteY17" fmla="*/ 9230 h 26272"/>
                <a:gd name="connsiteX18" fmla="*/ 51508 w 53826"/>
                <a:gd name="connsiteY18" fmla="*/ 4626 h 26272"/>
                <a:gd name="connsiteX19" fmla="*/ 51137 w 53826"/>
                <a:gd name="connsiteY19" fmla="*/ 4271 h 26272"/>
                <a:gd name="connsiteX20" fmla="*/ 51120 w 53826"/>
                <a:gd name="connsiteY20" fmla="*/ 4303 h 2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3826" h="26272">
                  <a:moveTo>
                    <a:pt x="51120" y="4303"/>
                  </a:moveTo>
                  <a:cubicBezTo>
                    <a:pt x="47696" y="410"/>
                    <a:pt x="41864" y="-963"/>
                    <a:pt x="35887" y="684"/>
                  </a:cubicBezTo>
                  <a:cubicBezTo>
                    <a:pt x="34772" y="992"/>
                    <a:pt x="33674" y="1444"/>
                    <a:pt x="32495" y="1912"/>
                  </a:cubicBezTo>
                  <a:cubicBezTo>
                    <a:pt x="30976" y="2510"/>
                    <a:pt x="29425" y="3140"/>
                    <a:pt x="27697" y="3544"/>
                  </a:cubicBezTo>
                  <a:cubicBezTo>
                    <a:pt x="23691" y="4481"/>
                    <a:pt x="19571" y="4045"/>
                    <a:pt x="15597" y="3625"/>
                  </a:cubicBezTo>
                  <a:cubicBezTo>
                    <a:pt x="13481" y="3398"/>
                    <a:pt x="11494" y="3188"/>
                    <a:pt x="9653" y="3188"/>
                  </a:cubicBezTo>
                  <a:cubicBezTo>
                    <a:pt x="6922" y="3188"/>
                    <a:pt x="4548" y="3641"/>
                    <a:pt x="2626" y="5208"/>
                  </a:cubicBezTo>
                  <a:cubicBezTo>
                    <a:pt x="348" y="7049"/>
                    <a:pt x="-605" y="10539"/>
                    <a:pt x="396" y="13285"/>
                  </a:cubicBezTo>
                  <a:cubicBezTo>
                    <a:pt x="2335" y="18583"/>
                    <a:pt x="9636" y="20086"/>
                    <a:pt x="12690" y="20473"/>
                  </a:cubicBezTo>
                  <a:cubicBezTo>
                    <a:pt x="14289" y="20683"/>
                    <a:pt x="15920" y="20813"/>
                    <a:pt x="17536" y="20926"/>
                  </a:cubicBezTo>
                  <a:cubicBezTo>
                    <a:pt x="22140" y="21281"/>
                    <a:pt x="26889" y="21653"/>
                    <a:pt x="31331" y="23769"/>
                  </a:cubicBezTo>
                  <a:cubicBezTo>
                    <a:pt x="31913" y="24044"/>
                    <a:pt x="32495" y="24350"/>
                    <a:pt x="33076" y="24657"/>
                  </a:cubicBezTo>
                  <a:cubicBezTo>
                    <a:pt x="34950" y="25643"/>
                    <a:pt x="36727" y="26580"/>
                    <a:pt x="37971" y="26176"/>
                  </a:cubicBezTo>
                  <a:cubicBezTo>
                    <a:pt x="39069" y="25821"/>
                    <a:pt x="39812" y="24496"/>
                    <a:pt x="40879" y="22331"/>
                  </a:cubicBezTo>
                  <a:cubicBezTo>
                    <a:pt x="41751" y="20587"/>
                    <a:pt x="42736" y="18600"/>
                    <a:pt x="44384" y="17065"/>
                  </a:cubicBezTo>
                  <a:cubicBezTo>
                    <a:pt x="45935" y="15611"/>
                    <a:pt x="47777" y="14836"/>
                    <a:pt x="49408" y="14157"/>
                  </a:cubicBezTo>
                  <a:cubicBezTo>
                    <a:pt x="50749" y="13592"/>
                    <a:pt x="52009" y="13059"/>
                    <a:pt x="52800" y="12283"/>
                  </a:cubicBezTo>
                  <a:cubicBezTo>
                    <a:pt x="53721" y="11363"/>
                    <a:pt x="53867" y="10119"/>
                    <a:pt x="53818" y="9230"/>
                  </a:cubicBezTo>
                  <a:cubicBezTo>
                    <a:pt x="53721" y="7486"/>
                    <a:pt x="52817" y="5676"/>
                    <a:pt x="51508" y="4626"/>
                  </a:cubicBezTo>
                  <a:cubicBezTo>
                    <a:pt x="51379" y="4513"/>
                    <a:pt x="51250" y="4400"/>
                    <a:pt x="51137" y="4271"/>
                  </a:cubicBezTo>
                  <a:lnTo>
                    <a:pt x="51120" y="430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4" name="Free-form: Shape 323">
              <a:extLst>
                <a:ext uri="{FF2B5EF4-FFF2-40B4-BE49-F238E27FC236}">
                  <a16:creationId xmlns:a16="http://schemas.microsoft.com/office/drawing/2014/main" id="{C691242F-7006-C90A-5FA8-DFB0253C84C4}"/>
                </a:ext>
              </a:extLst>
            </p:cNvPr>
            <p:cNvSpPr/>
            <p:nvPr/>
          </p:nvSpPr>
          <p:spPr>
            <a:xfrm>
              <a:off x="7123059" y="4337028"/>
              <a:ext cx="257813" cy="274385"/>
            </a:xfrm>
            <a:custGeom>
              <a:avLst/>
              <a:gdLst>
                <a:gd name="connsiteX0" fmla="*/ 236587 w 257813"/>
                <a:gd name="connsiteY0" fmla="*/ 4729 h 274385"/>
                <a:gd name="connsiteX1" fmla="*/ 197316 w 257813"/>
                <a:gd name="connsiteY1" fmla="*/ 6441 h 274385"/>
                <a:gd name="connsiteX2" fmla="*/ 186913 w 257813"/>
                <a:gd name="connsiteY2" fmla="*/ 12176 h 274385"/>
                <a:gd name="connsiteX3" fmla="*/ 155816 w 257813"/>
                <a:gd name="connsiteY3" fmla="*/ 24938 h 274385"/>
                <a:gd name="connsiteX4" fmla="*/ 149677 w 257813"/>
                <a:gd name="connsiteY4" fmla="*/ 25455 h 274385"/>
                <a:gd name="connsiteX5" fmla="*/ 137045 w 257813"/>
                <a:gd name="connsiteY5" fmla="*/ 27862 h 274385"/>
                <a:gd name="connsiteX6" fmla="*/ 127110 w 257813"/>
                <a:gd name="connsiteY6" fmla="*/ 37361 h 274385"/>
                <a:gd name="connsiteX7" fmla="*/ 90149 w 257813"/>
                <a:gd name="connsiteY7" fmla="*/ 89749 h 274385"/>
                <a:gd name="connsiteX8" fmla="*/ 82395 w 257813"/>
                <a:gd name="connsiteY8" fmla="*/ 99344 h 274385"/>
                <a:gd name="connsiteX9" fmla="*/ 68389 w 257813"/>
                <a:gd name="connsiteY9" fmla="*/ 105111 h 274385"/>
                <a:gd name="connsiteX10" fmla="*/ 66095 w 257813"/>
                <a:gd name="connsiteY10" fmla="*/ 105693 h 274385"/>
                <a:gd name="connsiteX11" fmla="*/ 348 w 257813"/>
                <a:gd name="connsiteY11" fmla="*/ 201342 h 274385"/>
                <a:gd name="connsiteX12" fmla="*/ 687 w 257813"/>
                <a:gd name="connsiteY12" fmla="*/ 202376 h 274385"/>
                <a:gd name="connsiteX13" fmla="*/ 1947 w 257813"/>
                <a:gd name="connsiteY13" fmla="*/ 211422 h 274385"/>
                <a:gd name="connsiteX14" fmla="*/ 3869 w 257813"/>
                <a:gd name="connsiteY14" fmla="*/ 211858 h 274385"/>
                <a:gd name="connsiteX15" fmla="*/ 8199 w 257813"/>
                <a:gd name="connsiteY15" fmla="*/ 214540 h 274385"/>
                <a:gd name="connsiteX16" fmla="*/ 19910 w 257813"/>
                <a:gd name="connsiteY16" fmla="*/ 209161 h 274385"/>
                <a:gd name="connsiteX17" fmla="*/ 20120 w 257813"/>
                <a:gd name="connsiteY17" fmla="*/ 209161 h 274385"/>
                <a:gd name="connsiteX18" fmla="*/ 29571 w 257813"/>
                <a:gd name="connsiteY18" fmla="*/ 214944 h 274385"/>
                <a:gd name="connsiteX19" fmla="*/ 29377 w 257813"/>
                <a:gd name="connsiteY19" fmla="*/ 223263 h 274385"/>
                <a:gd name="connsiteX20" fmla="*/ 25904 w 257813"/>
                <a:gd name="connsiteY20" fmla="*/ 224329 h 274385"/>
                <a:gd name="connsiteX21" fmla="*/ 14305 w 257813"/>
                <a:gd name="connsiteY21" fmla="*/ 227980 h 274385"/>
                <a:gd name="connsiteX22" fmla="*/ 15484 w 257813"/>
                <a:gd name="connsiteY22" fmla="*/ 240080 h 274385"/>
                <a:gd name="connsiteX23" fmla="*/ 17536 w 257813"/>
                <a:gd name="connsiteY23" fmla="*/ 241889 h 274385"/>
                <a:gd name="connsiteX24" fmla="*/ 23028 w 257813"/>
                <a:gd name="connsiteY24" fmla="*/ 250451 h 274385"/>
                <a:gd name="connsiteX25" fmla="*/ 18715 w 257813"/>
                <a:gd name="connsiteY25" fmla="*/ 258576 h 274385"/>
                <a:gd name="connsiteX26" fmla="*/ 16260 w 257813"/>
                <a:gd name="connsiteY26" fmla="*/ 261516 h 274385"/>
                <a:gd name="connsiteX27" fmla="*/ 19797 w 257813"/>
                <a:gd name="connsiteY27" fmla="*/ 270950 h 274385"/>
                <a:gd name="connsiteX28" fmla="*/ 33189 w 257813"/>
                <a:gd name="connsiteY28" fmla="*/ 274311 h 274385"/>
                <a:gd name="connsiteX29" fmla="*/ 35532 w 257813"/>
                <a:gd name="connsiteY29" fmla="*/ 274230 h 274385"/>
                <a:gd name="connsiteX30" fmla="*/ 37034 w 257813"/>
                <a:gd name="connsiteY30" fmla="*/ 271984 h 274385"/>
                <a:gd name="connsiteX31" fmla="*/ 37421 w 257813"/>
                <a:gd name="connsiteY31" fmla="*/ 271241 h 274385"/>
                <a:gd name="connsiteX32" fmla="*/ 53721 w 257813"/>
                <a:gd name="connsiteY32" fmla="*/ 259869 h 274385"/>
                <a:gd name="connsiteX33" fmla="*/ 61604 w 257813"/>
                <a:gd name="connsiteY33" fmla="*/ 243957 h 274385"/>
                <a:gd name="connsiteX34" fmla="*/ 64738 w 257813"/>
                <a:gd name="connsiteY34" fmla="*/ 241324 h 274385"/>
                <a:gd name="connsiteX35" fmla="*/ 73332 w 257813"/>
                <a:gd name="connsiteY35" fmla="*/ 231437 h 274385"/>
                <a:gd name="connsiteX36" fmla="*/ 74205 w 257813"/>
                <a:gd name="connsiteY36" fmla="*/ 225024 h 274385"/>
                <a:gd name="connsiteX37" fmla="*/ 74819 w 257813"/>
                <a:gd name="connsiteY37" fmla="*/ 219079 h 274385"/>
                <a:gd name="connsiteX38" fmla="*/ 80424 w 257813"/>
                <a:gd name="connsiteY38" fmla="*/ 210485 h 274385"/>
                <a:gd name="connsiteX39" fmla="*/ 86902 w 257813"/>
                <a:gd name="connsiteY39" fmla="*/ 209209 h 274385"/>
                <a:gd name="connsiteX40" fmla="*/ 94430 w 257813"/>
                <a:gd name="connsiteY40" fmla="*/ 215525 h 274385"/>
                <a:gd name="connsiteX41" fmla="*/ 97451 w 257813"/>
                <a:gd name="connsiteY41" fmla="*/ 219128 h 274385"/>
                <a:gd name="connsiteX42" fmla="*/ 102071 w 257813"/>
                <a:gd name="connsiteY42" fmla="*/ 219822 h 274385"/>
                <a:gd name="connsiteX43" fmla="*/ 108823 w 257813"/>
                <a:gd name="connsiteY43" fmla="*/ 214136 h 274385"/>
                <a:gd name="connsiteX44" fmla="*/ 110632 w 257813"/>
                <a:gd name="connsiteY44" fmla="*/ 199888 h 274385"/>
                <a:gd name="connsiteX45" fmla="*/ 110632 w 257813"/>
                <a:gd name="connsiteY45" fmla="*/ 196270 h 274385"/>
                <a:gd name="connsiteX46" fmla="*/ 118386 w 257813"/>
                <a:gd name="connsiteY46" fmla="*/ 176529 h 274385"/>
                <a:gd name="connsiteX47" fmla="*/ 139015 w 257813"/>
                <a:gd name="connsiteY47" fmla="*/ 174219 h 274385"/>
                <a:gd name="connsiteX48" fmla="*/ 145219 w 257813"/>
                <a:gd name="connsiteY48" fmla="*/ 174995 h 274385"/>
                <a:gd name="connsiteX49" fmla="*/ 188609 w 257813"/>
                <a:gd name="connsiteY49" fmla="*/ 144334 h 274385"/>
                <a:gd name="connsiteX50" fmla="*/ 199820 w 257813"/>
                <a:gd name="connsiteY50" fmla="*/ 100556 h 274385"/>
                <a:gd name="connsiteX51" fmla="*/ 202146 w 257813"/>
                <a:gd name="connsiteY51" fmla="*/ 86809 h 274385"/>
                <a:gd name="connsiteX52" fmla="*/ 223938 w 257813"/>
                <a:gd name="connsiteY52" fmla="*/ 55405 h 274385"/>
                <a:gd name="connsiteX53" fmla="*/ 228655 w 257813"/>
                <a:gd name="connsiteY53" fmla="*/ 54775 h 274385"/>
                <a:gd name="connsiteX54" fmla="*/ 233534 w 257813"/>
                <a:gd name="connsiteY54" fmla="*/ 54016 h 274385"/>
                <a:gd name="connsiteX55" fmla="*/ 240997 w 257813"/>
                <a:gd name="connsiteY55" fmla="*/ 48846 h 274385"/>
                <a:gd name="connsiteX56" fmla="*/ 257813 w 257813"/>
                <a:gd name="connsiteY56" fmla="*/ 18331 h 274385"/>
                <a:gd name="connsiteX57" fmla="*/ 241740 w 257813"/>
                <a:gd name="connsiteY57" fmla="*/ 9349 h 274385"/>
                <a:gd name="connsiteX58" fmla="*/ 236538 w 257813"/>
                <a:gd name="connsiteY58" fmla="*/ 4697 h 274385"/>
                <a:gd name="connsiteX59" fmla="*/ 236587 w 257813"/>
                <a:gd name="connsiteY59" fmla="*/ 4729 h 27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57813" h="274385">
                  <a:moveTo>
                    <a:pt x="236587" y="4729"/>
                  </a:moveTo>
                  <a:cubicBezTo>
                    <a:pt x="223243" y="-5416"/>
                    <a:pt x="203148" y="3469"/>
                    <a:pt x="197316" y="6441"/>
                  </a:cubicBezTo>
                  <a:cubicBezTo>
                    <a:pt x="193827" y="8202"/>
                    <a:pt x="190305" y="10222"/>
                    <a:pt x="186913" y="12176"/>
                  </a:cubicBezTo>
                  <a:cubicBezTo>
                    <a:pt x="177236" y="17717"/>
                    <a:pt x="167237" y="23436"/>
                    <a:pt x="155816" y="24938"/>
                  </a:cubicBezTo>
                  <a:cubicBezTo>
                    <a:pt x="153764" y="25213"/>
                    <a:pt x="151680" y="25342"/>
                    <a:pt x="149677" y="25455"/>
                  </a:cubicBezTo>
                  <a:cubicBezTo>
                    <a:pt x="145089" y="25746"/>
                    <a:pt x="140744" y="26004"/>
                    <a:pt x="137045" y="27862"/>
                  </a:cubicBezTo>
                  <a:cubicBezTo>
                    <a:pt x="133216" y="29784"/>
                    <a:pt x="130276" y="33290"/>
                    <a:pt x="127110" y="37361"/>
                  </a:cubicBezTo>
                  <a:cubicBezTo>
                    <a:pt x="114009" y="54129"/>
                    <a:pt x="101586" y="71753"/>
                    <a:pt x="90149" y="89749"/>
                  </a:cubicBezTo>
                  <a:cubicBezTo>
                    <a:pt x="87936" y="93238"/>
                    <a:pt x="85739" y="96711"/>
                    <a:pt x="82395" y="99344"/>
                  </a:cubicBezTo>
                  <a:cubicBezTo>
                    <a:pt x="78227" y="102624"/>
                    <a:pt x="73235" y="103900"/>
                    <a:pt x="68389" y="105111"/>
                  </a:cubicBezTo>
                  <a:cubicBezTo>
                    <a:pt x="67630" y="105305"/>
                    <a:pt x="66855" y="105499"/>
                    <a:pt x="66095" y="105693"/>
                  </a:cubicBezTo>
                  <a:cubicBezTo>
                    <a:pt x="25193" y="116532"/>
                    <a:pt x="-3513" y="159616"/>
                    <a:pt x="348" y="201342"/>
                  </a:cubicBezTo>
                  <a:cubicBezTo>
                    <a:pt x="525" y="201649"/>
                    <a:pt x="639" y="202004"/>
                    <a:pt x="687" y="202376"/>
                  </a:cubicBezTo>
                  <a:lnTo>
                    <a:pt x="1947" y="211422"/>
                  </a:lnTo>
                  <a:cubicBezTo>
                    <a:pt x="2609" y="211519"/>
                    <a:pt x="3255" y="211665"/>
                    <a:pt x="3869" y="211858"/>
                  </a:cubicBezTo>
                  <a:cubicBezTo>
                    <a:pt x="5598" y="212424"/>
                    <a:pt x="7068" y="213345"/>
                    <a:pt x="8199" y="214540"/>
                  </a:cubicBezTo>
                  <a:cubicBezTo>
                    <a:pt x="11236" y="211939"/>
                    <a:pt x="15193" y="209274"/>
                    <a:pt x="19910" y="209161"/>
                  </a:cubicBezTo>
                  <a:cubicBezTo>
                    <a:pt x="19991" y="209161"/>
                    <a:pt x="20056" y="209161"/>
                    <a:pt x="20120" y="209161"/>
                  </a:cubicBezTo>
                  <a:cubicBezTo>
                    <a:pt x="23836" y="209161"/>
                    <a:pt x="27697" y="211519"/>
                    <a:pt x="29571" y="214944"/>
                  </a:cubicBezTo>
                  <a:cubicBezTo>
                    <a:pt x="31121" y="217787"/>
                    <a:pt x="31041" y="220808"/>
                    <a:pt x="29377" y="223263"/>
                  </a:cubicBezTo>
                  <a:cubicBezTo>
                    <a:pt x="28618" y="224394"/>
                    <a:pt x="27164" y="224830"/>
                    <a:pt x="25904" y="224329"/>
                  </a:cubicBezTo>
                  <a:cubicBezTo>
                    <a:pt x="21881" y="222730"/>
                    <a:pt x="16680" y="224378"/>
                    <a:pt x="14305" y="227980"/>
                  </a:cubicBezTo>
                  <a:cubicBezTo>
                    <a:pt x="11914" y="231583"/>
                    <a:pt x="12447" y="237010"/>
                    <a:pt x="15484" y="240080"/>
                  </a:cubicBezTo>
                  <a:cubicBezTo>
                    <a:pt x="16114" y="240710"/>
                    <a:pt x="16825" y="241307"/>
                    <a:pt x="17536" y="241889"/>
                  </a:cubicBezTo>
                  <a:cubicBezTo>
                    <a:pt x="19959" y="243892"/>
                    <a:pt x="22964" y="246396"/>
                    <a:pt x="23028" y="250451"/>
                  </a:cubicBezTo>
                  <a:cubicBezTo>
                    <a:pt x="23093" y="254102"/>
                    <a:pt x="20653" y="256589"/>
                    <a:pt x="18715" y="258576"/>
                  </a:cubicBezTo>
                  <a:cubicBezTo>
                    <a:pt x="17730" y="259594"/>
                    <a:pt x="16793" y="260547"/>
                    <a:pt x="16260" y="261516"/>
                  </a:cubicBezTo>
                  <a:cubicBezTo>
                    <a:pt x="14563" y="264570"/>
                    <a:pt x="16777" y="268947"/>
                    <a:pt x="19797" y="270950"/>
                  </a:cubicBezTo>
                  <a:cubicBezTo>
                    <a:pt x="23561" y="273454"/>
                    <a:pt x="28666" y="273907"/>
                    <a:pt x="33189" y="274311"/>
                  </a:cubicBezTo>
                  <a:cubicBezTo>
                    <a:pt x="33981" y="274375"/>
                    <a:pt x="35063" y="274472"/>
                    <a:pt x="35532" y="274230"/>
                  </a:cubicBezTo>
                  <a:cubicBezTo>
                    <a:pt x="36048" y="273971"/>
                    <a:pt x="36565" y="272921"/>
                    <a:pt x="37034" y="271984"/>
                  </a:cubicBezTo>
                  <a:lnTo>
                    <a:pt x="37421" y="271241"/>
                  </a:lnTo>
                  <a:cubicBezTo>
                    <a:pt x="40636" y="265086"/>
                    <a:pt x="46904" y="260822"/>
                    <a:pt x="53721" y="259869"/>
                  </a:cubicBezTo>
                  <a:cubicBezTo>
                    <a:pt x="53107" y="253908"/>
                    <a:pt x="57065" y="247963"/>
                    <a:pt x="61604" y="243957"/>
                  </a:cubicBezTo>
                  <a:cubicBezTo>
                    <a:pt x="62622" y="243068"/>
                    <a:pt x="63672" y="242196"/>
                    <a:pt x="64738" y="241324"/>
                  </a:cubicBezTo>
                  <a:cubicBezTo>
                    <a:pt x="68470" y="238254"/>
                    <a:pt x="71992" y="235363"/>
                    <a:pt x="73332" y="231437"/>
                  </a:cubicBezTo>
                  <a:cubicBezTo>
                    <a:pt x="73978" y="229515"/>
                    <a:pt x="74092" y="227334"/>
                    <a:pt x="74205" y="225024"/>
                  </a:cubicBezTo>
                  <a:cubicBezTo>
                    <a:pt x="74302" y="223102"/>
                    <a:pt x="74398" y="221099"/>
                    <a:pt x="74819" y="219079"/>
                  </a:cubicBezTo>
                  <a:cubicBezTo>
                    <a:pt x="75546" y="215542"/>
                    <a:pt x="77694" y="212246"/>
                    <a:pt x="80424" y="210485"/>
                  </a:cubicBezTo>
                  <a:cubicBezTo>
                    <a:pt x="82443" y="209161"/>
                    <a:pt x="84689" y="208725"/>
                    <a:pt x="86902" y="209209"/>
                  </a:cubicBezTo>
                  <a:cubicBezTo>
                    <a:pt x="90650" y="210017"/>
                    <a:pt x="92653" y="212941"/>
                    <a:pt x="94430" y="215525"/>
                  </a:cubicBezTo>
                  <a:cubicBezTo>
                    <a:pt x="95415" y="216963"/>
                    <a:pt x="96352" y="218320"/>
                    <a:pt x="97451" y="219128"/>
                  </a:cubicBezTo>
                  <a:cubicBezTo>
                    <a:pt x="99001" y="220291"/>
                    <a:pt x="100811" y="220145"/>
                    <a:pt x="102071" y="219822"/>
                  </a:cubicBezTo>
                  <a:cubicBezTo>
                    <a:pt x="104881" y="219112"/>
                    <a:pt x="107595" y="216818"/>
                    <a:pt x="108823" y="214136"/>
                  </a:cubicBezTo>
                  <a:cubicBezTo>
                    <a:pt x="110762" y="209952"/>
                    <a:pt x="110697" y="205058"/>
                    <a:pt x="110632" y="199888"/>
                  </a:cubicBezTo>
                  <a:cubicBezTo>
                    <a:pt x="110632" y="198676"/>
                    <a:pt x="110600" y="197465"/>
                    <a:pt x="110632" y="196270"/>
                  </a:cubicBezTo>
                  <a:cubicBezTo>
                    <a:pt x="110729" y="186868"/>
                    <a:pt x="113330" y="180212"/>
                    <a:pt x="118386" y="176529"/>
                  </a:cubicBezTo>
                  <a:cubicBezTo>
                    <a:pt x="124541" y="172038"/>
                    <a:pt x="132231" y="173185"/>
                    <a:pt x="139015" y="174219"/>
                  </a:cubicBezTo>
                  <a:cubicBezTo>
                    <a:pt x="141180" y="174542"/>
                    <a:pt x="143232" y="174849"/>
                    <a:pt x="145219" y="174995"/>
                  </a:cubicBezTo>
                  <a:cubicBezTo>
                    <a:pt x="164523" y="176368"/>
                    <a:pt x="180968" y="160617"/>
                    <a:pt x="188609" y="144334"/>
                  </a:cubicBezTo>
                  <a:cubicBezTo>
                    <a:pt x="194990" y="130764"/>
                    <a:pt x="197445" y="115402"/>
                    <a:pt x="199820" y="100556"/>
                  </a:cubicBezTo>
                  <a:cubicBezTo>
                    <a:pt x="200547" y="96049"/>
                    <a:pt x="201290" y="91380"/>
                    <a:pt x="202146" y="86809"/>
                  </a:cubicBezTo>
                  <a:cubicBezTo>
                    <a:pt x="205506" y="68684"/>
                    <a:pt x="213050" y="57828"/>
                    <a:pt x="223938" y="55405"/>
                  </a:cubicBezTo>
                  <a:cubicBezTo>
                    <a:pt x="225553" y="55050"/>
                    <a:pt x="227120" y="54904"/>
                    <a:pt x="228655" y="54775"/>
                  </a:cubicBezTo>
                  <a:cubicBezTo>
                    <a:pt x="230400" y="54613"/>
                    <a:pt x="232048" y="54468"/>
                    <a:pt x="233534" y="54016"/>
                  </a:cubicBezTo>
                  <a:cubicBezTo>
                    <a:pt x="236635" y="53062"/>
                    <a:pt x="239285" y="50607"/>
                    <a:pt x="240997" y="48846"/>
                  </a:cubicBezTo>
                  <a:cubicBezTo>
                    <a:pt x="249235" y="40398"/>
                    <a:pt x="253985" y="29833"/>
                    <a:pt x="257813" y="18331"/>
                  </a:cubicBezTo>
                  <a:cubicBezTo>
                    <a:pt x="251368" y="18573"/>
                    <a:pt x="246279" y="13711"/>
                    <a:pt x="241740" y="9349"/>
                  </a:cubicBezTo>
                  <a:cubicBezTo>
                    <a:pt x="239947" y="7637"/>
                    <a:pt x="238267" y="6005"/>
                    <a:pt x="236538" y="4697"/>
                  </a:cubicBezTo>
                  <a:lnTo>
                    <a:pt x="236587" y="472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5" name="Free-form: Shape 324">
              <a:extLst>
                <a:ext uri="{FF2B5EF4-FFF2-40B4-BE49-F238E27FC236}">
                  <a16:creationId xmlns:a16="http://schemas.microsoft.com/office/drawing/2014/main" id="{CEC1EA0B-FAEA-EF4B-A5F7-716B1AD72BEB}"/>
                </a:ext>
              </a:extLst>
            </p:cNvPr>
            <p:cNvSpPr/>
            <p:nvPr/>
          </p:nvSpPr>
          <p:spPr>
            <a:xfrm>
              <a:off x="5524918" y="4332604"/>
              <a:ext cx="271522" cy="197834"/>
            </a:xfrm>
            <a:custGeom>
              <a:avLst/>
              <a:gdLst>
                <a:gd name="connsiteX0" fmla="*/ 254427 w 271522"/>
                <a:gd name="connsiteY0" fmla="*/ 87291 h 197834"/>
                <a:gd name="connsiteX1" fmla="*/ 253328 w 271522"/>
                <a:gd name="connsiteY1" fmla="*/ 86096 h 197834"/>
                <a:gd name="connsiteX2" fmla="*/ 234509 w 271522"/>
                <a:gd name="connsiteY2" fmla="*/ 48230 h 197834"/>
                <a:gd name="connsiteX3" fmla="*/ 224089 w 271522"/>
                <a:gd name="connsiteY3" fmla="*/ 33175 h 197834"/>
                <a:gd name="connsiteX4" fmla="*/ 207289 w 271522"/>
                <a:gd name="connsiteY4" fmla="*/ 26826 h 197834"/>
                <a:gd name="connsiteX5" fmla="*/ 202426 w 271522"/>
                <a:gd name="connsiteY5" fmla="*/ 25679 h 197834"/>
                <a:gd name="connsiteX6" fmla="*/ 171216 w 271522"/>
                <a:gd name="connsiteY6" fmla="*/ 13547 h 197834"/>
                <a:gd name="connsiteX7" fmla="*/ 116938 w 271522"/>
                <a:gd name="connsiteY7" fmla="*/ 1028 h 197834"/>
                <a:gd name="connsiteX8" fmla="*/ 108328 w 271522"/>
                <a:gd name="connsiteY8" fmla="*/ 3467 h 197834"/>
                <a:gd name="connsiteX9" fmla="*/ 91075 w 271522"/>
                <a:gd name="connsiteY9" fmla="*/ 6876 h 197834"/>
                <a:gd name="connsiteX10" fmla="*/ 79137 w 271522"/>
                <a:gd name="connsiteY10" fmla="*/ 4856 h 197834"/>
                <a:gd name="connsiteX11" fmla="*/ 62612 w 271522"/>
                <a:gd name="connsiteY11" fmla="*/ 4130 h 197834"/>
                <a:gd name="connsiteX12" fmla="*/ 52386 w 271522"/>
                <a:gd name="connsiteY12" fmla="*/ 14194 h 197834"/>
                <a:gd name="connsiteX13" fmla="*/ 50173 w 271522"/>
                <a:gd name="connsiteY13" fmla="*/ 17182 h 197834"/>
                <a:gd name="connsiteX14" fmla="*/ 29027 w 271522"/>
                <a:gd name="connsiteY14" fmla="*/ 37472 h 197834"/>
                <a:gd name="connsiteX15" fmla="*/ 12291 w 271522"/>
                <a:gd name="connsiteY15" fmla="*/ 52625 h 197834"/>
                <a:gd name="connsiteX16" fmla="*/ 4618 w 271522"/>
                <a:gd name="connsiteY16" fmla="*/ 95789 h 197834"/>
                <a:gd name="connsiteX17" fmla="*/ 24649 w 271522"/>
                <a:gd name="connsiteY17" fmla="*/ 108130 h 197834"/>
                <a:gd name="connsiteX18" fmla="*/ 68831 w 271522"/>
                <a:gd name="connsiteY18" fmla="*/ 125948 h 197834"/>
                <a:gd name="connsiteX19" fmla="*/ 88685 w 271522"/>
                <a:gd name="connsiteY19" fmla="*/ 141198 h 197834"/>
                <a:gd name="connsiteX20" fmla="*/ 89525 w 271522"/>
                <a:gd name="connsiteY20" fmla="*/ 158467 h 197834"/>
                <a:gd name="connsiteX21" fmla="*/ 88846 w 271522"/>
                <a:gd name="connsiteY21" fmla="*/ 168159 h 197834"/>
                <a:gd name="connsiteX22" fmla="*/ 113368 w 271522"/>
                <a:gd name="connsiteY22" fmla="*/ 192229 h 197834"/>
                <a:gd name="connsiteX23" fmla="*/ 130249 w 271522"/>
                <a:gd name="connsiteY23" fmla="*/ 189095 h 197834"/>
                <a:gd name="connsiteX24" fmla="*/ 145160 w 271522"/>
                <a:gd name="connsiteY24" fmla="*/ 185541 h 197834"/>
                <a:gd name="connsiteX25" fmla="*/ 154529 w 271522"/>
                <a:gd name="connsiteY25" fmla="*/ 188562 h 197834"/>
                <a:gd name="connsiteX26" fmla="*/ 159359 w 271522"/>
                <a:gd name="connsiteY26" fmla="*/ 193505 h 197834"/>
                <a:gd name="connsiteX27" fmla="*/ 165498 w 271522"/>
                <a:gd name="connsiteY27" fmla="*/ 197818 h 197834"/>
                <a:gd name="connsiteX28" fmla="*/ 179391 w 271522"/>
                <a:gd name="connsiteY28" fmla="*/ 192310 h 197834"/>
                <a:gd name="connsiteX29" fmla="*/ 180909 w 271522"/>
                <a:gd name="connsiteY29" fmla="*/ 191438 h 197834"/>
                <a:gd name="connsiteX30" fmla="*/ 242198 w 271522"/>
                <a:gd name="connsiteY30" fmla="*/ 172375 h 197834"/>
                <a:gd name="connsiteX31" fmla="*/ 244023 w 271522"/>
                <a:gd name="connsiteY31" fmla="*/ 172214 h 197834"/>
                <a:gd name="connsiteX32" fmla="*/ 259822 w 271522"/>
                <a:gd name="connsiteY32" fmla="*/ 168402 h 197834"/>
                <a:gd name="connsiteX33" fmla="*/ 270145 w 271522"/>
                <a:gd name="connsiteY33" fmla="*/ 144138 h 197834"/>
                <a:gd name="connsiteX34" fmla="*/ 254411 w 271522"/>
                <a:gd name="connsiteY34" fmla="*/ 87275 h 197834"/>
                <a:gd name="connsiteX35" fmla="*/ 254427 w 271522"/>
                <a:gd name="connsiteY35" fmla="*/ 87291 h 197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1522" h="197834">
                  <a:moveTo>
                    <a:pt x="254427" y="87291"/>
                  </a:moveTo>
                  <a:cubicBezTo>
                    <a:pt x="253958" y="87001"/>
                    <a:pt x="253587" y="86597"/>
                    <a:pt x="253328" y="86096"/>
                  </a:cubicBezTo>
                  <a:lnTo>
                    <a:pt x="234509" y="48230"/>
                  </a:lnTo>
                  <a:cubicBezTo>
                    <a:pt x="231876" y="42916"/>
                    <a:pt x="228871" y="36890"/>
                    <a:pt x="224089" y="33175"/>
                  </a:cubicBezTo>
                  <a:cubicBezTo>
                    <a:pt x="219485" y="29605"/>
                    <a:pt x="213557" y="28248"/>
                    <a:pt x="207289" y="26826"/>
                  </a:cubicBezTo>
                  <a:cubicBezTo>
                    <a:pt x="205657" y="26455"/>
                    <a:pt x="204026" y="26083"/>
                    <a:pt x="202426" y="25679"/>
                  </a:cubicBezTo>
                  <a:cubicBezTo>
                    <a:pt x="191716" y="22933"/>
                    <a:pt x="181297" y="18167"/>
                    <a:pt x="171216" y="13547"/>
                  </a:cubicBezTo>
                  <a:cubicBezTo>
                    <a:pt x="152752" y="5099"/>
                    <a:pt x="135322" y="-2898"/>
                    <a:pt x="116938" y="1028"/>
                  </a:cubicBezTo>
                  <a:cubicBezTo>
                    <a:pt x="114079" y="1642"/>
                    <a:pt x="111284" y="2530"/>
                    <a:pt x="108328" y="3467"/>
                  </a:cubicBezTo>
                  <a:cubicBezTo>
                    <a:pt x="102836" y="5212"/>
                    <a:pt x="97117" y="7021"/>
                    <a:pt x="91075" y="6876"/>
                  </a:cubicBezTo>
                  <a:cubicBezTo>
                    <a:pt x="87005" y="6779"/>
                    <a:pt x="82998" y="5793"/>
                    <a:pt x="79137" y="4856"/>
                  </a:cubicBezTo>
                  <a:cubicBezTo>
                    <a:pt x="73177" y="3402"/>
                    <a:pt x="67539" y="2029"/>
                    <a:pt x="62612" y="4130"/>
                  </a:cubicBezTo>
                  <a:cubicBezTo>
                    <a:pt x="58395" y="5923"/>
                    <a:pt x="55472" y="9945"/>
                    <a:pt x="52386" y="14194"/>
                  </a:cubicBezTo>
                  <a:cubicBezTo>
                    <a:pt x="51659" y="15195"/>
                    <a:pt x="50916" y="16213"/>
                    <a:pt x="50173" y="17182"/>
                  </a:cubicBezTo>
                  <a:cubicBezTo>
                    <a:pt x="44147" y="25049"/>
                    <a:pt x="36458" y="31366"/>
                    <a:pt x="29027" y="37472"/>
                  </a:cubicBezTo>
                  <a:cubicBezTo>
                    <a:pt x="23260" y="42205"/>
                    <a:pt x="17299" y="47100"/>
                    <a:pt x="12291" y="52625"/>
                  </a:cubicBezTo>
                  <a:cubicBezTo>
                    <a:pt x="1500" y="64498"/>
                    <a:pt x="-4848" y="83657"/>
                    <a:pt x="4618" y="95789"/>
                  </a:cubicBezTo>
                  <a:cubicBezTo>
                    <a:pt x="9480" y="102008"/>
                    <a:pt x="17542" y="105255"/>
                    <a:pt x="24649" y="108130"/>
                  </a:cubicBezTo>
                  <a:lnTo>
                    <a:pt x="68831" y="125948"/>
                  </a:lnTo>
                  <a:cubicBezTo>
                    <a:pt x="76989" y="129244"/>
                    <a:pt x="85244" y="133121"/>
                    <a:pt x="88685" y="141198"/>
                  </a:cubicBezTo>
                  <a:cubicBezTo>
                    <a:pt x="91092" y="146868"/>
                    <a:pt x="90300" y="152764"/>
                    <a:pt x="89525" y="158467"/>
                  </a:cubicBezTo>
                  <a:cubicBezTo>
                    <a:pt x="89072" y="161859"/>
                    <a:pt x="88636" y="165074"/>
                    <a:pt x="88846" y="168159"/>
                  </a:cubicBezTo>
                  <a:cubicBezTo>
                    <a:pt x="89751" y="180792"/>
                    <a:pt x="101866" y="189822"/>
                    <a:pt x="113368" y="192229"/>
                  </a:cubicBezTo>
                  <a:cubicBezTo>
                    <a:pt x="118424" y="193279"/>
                    <a:pt x="124434" y="191163"/>
                    <a:pt x="130249" y="189095"/>
                  </a:cubicBezTo>
                  <a:cubicBezTo>
                    <a:pt x="135225" y="187334"/>
                    <a:pt x="140313" y="185541"/>
                    <a:pt x="145160" y="185541"/>
                  </a:cubicBezTo>
                  <a:cubicBezTo>
                    <a:pt x="148423" y="185541"/>
                    <a:pt x="151589" y="186365"/>
                    <a:pt x="154529" y="188562"/>
                  </a:cubicBezTo>
                  <a:cubicBezTo>
                    <a:pt x="156500" y="190048"/>
                    <a:pt x="158018" y="191890"/>
                    <a:pt x="159359" y="193505"/>
                  </a:cubicBezTo>
                  <a:cubicBezTo>
                    <a:pt x="161782" y="196429"/>
                    <a:pt x="163155" y="198012"/>
                    <a:pt x="165498" y="197818"/>
                  </a:cubicBezTo>
                  <a:cubicBezTo>
                    <a:pt x="170280" y="197544"/>
                    <a:pt x="174706" y="195008"/>
                    <a:pt x="179391" y="192310"/>
                  </a:cubicBezTo>
                  <a:lnTo>
                    <a:pt x="180909" y="191438"/>
                  </a:lnTo>
                  <a:cubicBezTo>
                    <a:pt x="199599" y="180824"/>
                    <a:pt x="220794" y="174233"/>
                    <a:pt x="242198" y="172375"/>
                  </a:cubicBezTo>
                  <a:lnTo>
                    <a:pt x="244023" y="172214"/>
                  </a:lnTo>
                  <a:cubicBezTo>
                    <a:pt x="249645" y="171762"/>
                    <a:pt x="255461" y="171277"/>
                    <a:pt x="259822" y="168402"/>
                  </a:cubicBezTo>
                  <a:cubicBezTo>
                    <a:pt x="267108" y="163588"/>
                    <a:pt x="268966" y="153362"/>
                    <a:pt x="270145" y="144138"/>
                  </a:cubicBezTo>
                  <a:cubicBezTo>
                    <a:pt x="272907" y="122427"/>
                    <a:pt x="273214" y="98696"/>
                    <a:pt x="254411" y="87275"/>
                  </a:cubicBezTo>
                  <a:lnTo>
                    <a:pt x="254427" y="8729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6" name="Free-form: Shape 325">
              <a:extLst>
                <a:ext uri="{FF2B5EF4-FFF2-40B4-BE49-F238E27FC236}">
                  <a16:creationId xmlns:a16="http://schemas.microsoft.com/office/drawing/2014/main" id="{5812A59F-3EEB-1F45-B3F4-3274EE29BAA3}"/>
                </a:ext>
              </a:extLst>
            </p:cNvPr>
            <p:cNvSpPr/>
            <p:nvPr/>
          </p:nvSpPr>
          <p:spPr>
            <a:xfrm>
              <a:off x="6813064" y="3806165"/>
              <a:ext cx="194825" cy="189718"/>
            </a:xfrm>
            <a:custGeom>
              <a:avLst/>
              <a:gdLst>
                <a:gd name="connsiteX0" fmla="*/ 172870 w 194825"/>
                <a:gd name="connsiteY0" fmla="*/ 15120 h 189718"/>
                <a:gd name="connsiteX1" fmla="*/ 154422 w 194825"/>
                <a:gd name="connsiteY1" fmla="*/ 18723 h 189718"/>
                <a:gd name="connsiteX2" fmla="*/ 138995 w 194825"/>
                <a:gd name="connsiteY2" fmla="*/ 22842 h 189718"/>
                <a:gd name="connsiteX3" fmla="*/ 115490 w 194825"/>
                <a:gd name="connsiteY3" fmla="*/ 18691 h 189718"/>
                <a:gd name="connsiteX4" fmla="*/ 98124 w 194825"/>
                <a:gd name="connsiteY4" fmla="*/ 9580 h 189718"/>
                <a:gd name="connsiteX5" fmla="*/ 76041 w 194825"/>
                <a:gd name="connsiteY5" fmla="*/ 0 h 189718"/>
                <a:gd name="connsiteX6" fmla="*/ 70339 w 194825"/>
                <a:gd name="connsiteY6" fmla="*/ 1292 h 189718"/>
                <a:gd name="connsiteX7" fmla="*/ 57900 w 194825"/>
                <a:gd name="connsiteY7" fmla="*/ 29934 h 189718"/>
                <a:gd name="connsiteX8" fmla="*/ 53975 w 194825"/>
                <a:gd name="connsiteY8" fmla="*/ 48850 h 189718"/>
                <a:gd name="connsiteX9" fmla="*/ 40470 w 194825"/>
                <a:gd name="connsiteY9" fmla="*/ 77718 h 189718"/>
                <a:gd name="connsiteX10" fmla="*/ 28176 w 194825"/>
                <a:gd name="connsiteY10" fmla="*/ 91772 h 189718"/>
                <a:gd name="connsiteX11" fmla="*/ 21941 w 194825"/>
                <a:gd name="connsiteY11" fmla="*/ 98363 h 189718"/>
                <a:gd name="connsiteX12" fmla="*/ 1086 w 194825"/>
                <a:gd name="connsiteY12" fmla="*/ 131834 h 189718"/>
                <a:gd name="connsiteX13" fmla="*/ 262 w 194825"/>
                <a:gd name="connsiteY13" fmla="*/ 137327 h 189718"/>
                <a:gd name="connsiteX14" fmla="*/ 4220 w 194825"/>
                <a:gd name="connsiteY14" fmla="*/ 140202 h 189718"/>
                <a:gd name="connsiteX15" fmla="*/ 4947 w 194825"/>
                <a:gd name="connsiteY15" fmla="*/ 140574 h 189718"/>
                <a:gd name="connsiteX16" fmla="*/ 29324 w 194825"/>
                <a:gd name="connsiteY16" fmla="*/ 164418 h 189718"/>
                <a:gd name="connsiteX17" fmla="*/ 37724 w 194825"/>
                <a:gd name="connsiteY17" fmla="*/ 175047 h 189718"/>
                <a:gd name="connsiteX18" fmla="*/ 74992 w 194825"/>
                <a:gd name="connsiteY18" fmla="*/ 186759 h 189718"/>
                <a:gd name="connsiteX19" fmla="*/ 84264 w 194825"/>
                <a:gd name="connsiteY19" fmla="*/ 176323 h 189718"/>
                <a:gd name="connsiteX20" fmla="*/ 96509 w 194825"/>
                <a:gd name="connsiteY20" fmla="*/ 163561 h 189718"/>
                <a:gd name="connsiteX21" fmla="*/ 122549 w 194825"/>
                <a:gd name="connsiteY21" fmla="*/ 162075 h 189718"/>
                <a:gd name="connsiteX22" fmla="*/ 145020 w 194825"/>
                <a:gd name="connsiteY22" fmla="*/ 161058 h 189718"/>
                <a:gd name="connsiteX23" fmla="*/ 151659 w 194825"/>
                <a:gd name="connsiteY23" fmla="*/ 155290 h 189718"/>
                <a:gd name="connsiteX24" fmla="*/ 158250 w 194825"/>
                <a:gd name="connsiteY24" fmla="*/ 149362 h 189718"/>
                <a:gd name="connsiteX25" fmla="*/ 172256 w 194825"/>
                <a:gd name="connsiteY25" fmla="*/ 143821 h 189718"/>
                <a:gd name="connsiteX26" fmla="*/ 185195 w 194825"/>
                <a:gd name="connsiteY26" fmla="*/ 138539 h 189718"/>
                <a:gd name="connsiteX27" fmla="*/ 191883 w 194825"/>
                <a:gd name="connsiteY27" fmla="*/ 111367 h 189718"/>
                <a:gd name="connsiteX28" fmla="*/ 188653 w 194825"/>
                <a:gd name="connsiteY28" fmla="*/ 99122 h 189718"/>
                <a:gd name="connsiteX29" fmla="*/ 184339 w 194825"/>
                <a:gd name="connsiteY29" fmla="*/ 79253 h 189718"/>
                <a:gd name="connsiteX30" fmla="*/ 185115 w 194825"/>
                <a:gd name="connsiteY30" fmla="*/ 77088 h 189718"/>
                <a:gd name="connsiteX31" fmla="*/ 187231 w 194825"/>
                <a:gd name="connsiteY31" fmla="*/ 76167 h 189718"/>
                <a:gd name="connsiteX32" fmla="*/ 190849 w 194825"/>
                <a:gd name="connsiteY32" fmla="*/ 74633 h 189718"/>
                <a:gd name="connsiteX33" fmla="*/ 194823 w 194825"/>
                <a:gd name="connsiteY33" fmla="*/ 60126 h 189718"/>
                <a:gd name="connsiteX34" fmla="*/ 191286 w 194825"/>
                <a:gd name="connsiteY34" fmla="*/ 32179 h 189718"/>
                <a:gd name="connsiteX35" fmla="*/ 172837 w 194825"/>
                <a:gd name="connsiteY35" fmla="*/ 15201 h 189718"/>
                <a:gd name="connsiteX36" fmla="*/ 172870 w 194825"/>
                <a:gd name="connsiteY36" fmla="*/ 15120 h 18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94825" h="189718">
                  <a:moveTo>
                    <a:pt x="172870" y="15120"/>
                  </a:moveTo>
                  <a:cubicBezTo>
                    <a:pt x="166796" y="14232"/>
                    <a:pt x="160787" y="16413"/>
                    <a:pt x="154422" y="18723"/>
                  </a:cubicBezTo>
                  <a:cubicBezTo>
                    <a:pt x="149479" y="20516"/>
                    <a:pt x="144390" y="22357"/>
                    <a:pt x="138995" y="22842"/>
                  </a:cubicBezTo>
                  <a:cubicBezTo>
                    <a:pt x="130691" y="23569"/>
                    <a:pt x="122614" y="20984"/>
                    <a:pt x="115490" y="18691"/>
                  </a:cubicBezTo>
                  <a:cubicBezTo>
                    <a:pt x="109675" y="16817"/>
                    <a:pt x="103794" y="13133"/>
                    <a:pt x="98124" y="9580"/>
                  </a:cubicBezTo>
                  <a:cubicBezTo>
                    <a:pt x="90306" y="4685"/>
                    <a:pt x="82810" y="0"/>
                    <a:pt x="76041" y="0"/>
                  </a:cubicBezTo>
                  <a:cubicBezTo>
                    <a:pt x="74071" y="0"/>
                    <a:pt x="72181" y="388"/>
                    <a:pt x="70339" y="1292"/>
                  </a:cubicBezTo>
                  <a:cubicBezTo>
                    <a:pt x="61293" y="5735"/>
                    <a:pt x="59645" y="17479"/>
                    <a:pt x="57900" y="29934"/>
                  </a:cubicBezTo>
                  <a:cubicBezTo>
                    <a:pt x="56996" y="36412"/>
                    <a:pt x="56059" y="43100"/>
                    <a:pt x="53975" y="48850"/>
                  </a:cubicBezTo>
                  <a:cubicBezTo>
                    <a:pt x="50405" y="58688"/>
                    <a:pt x="46722" y="68849"/>
                    <a:pt x="40470" y="77718"/>
                  </a:cubicBezTo>
                  <a:cubicBezTo>
                    <a:pt x="36835" y="82871"/>
                    <a:pt x="32425" y="87394"/>
                    <a:pt x="28176" y="91772"/>
                  </a:cubicBezTo>
                  <a:cubicBezTo>
                    <a:pt x="26093" y="93904"/>
                    <a:pt x="23944" y="96134"/>
                    <a:pt x="21941" y="98363"/>
                  </a:cubicBezTo>
                  <a:cubicBezTo>
                    <a:pt x="13072" y="108249"/>
                    <a:pt x="6045" y="119509"/>
                    <a:pt x="1086" y="131834"/>
                  </a:cubicBezTo>
                  <a:cubicBezTo>
                    <a:pt x="310" y="133773"/>
                    <a:pt x="-400" y="135938"/>
                    <a:pt x="262" y="137327"/>
                  </a:cubicBezTo>
                  <a:cubicBezTo>
                    <a:pt x="828" y="138506"/>
                    <a:pt x="2475" y="139330"/>
                    <a:pt x="4220" y="140202"/>
                  </a:cubicBezTo>
                  <a:lnTo>
                    <a:pt x="4947" y="140574"/>
                  </a:lnTo>
                  <a:cubicBezTo>
                    <a:pt x="15415" y="145905"/>
                    <a:pt x="22490" y="155323"/>
                    <a:pt x="29324" y="164418"/>
                  </a:cubicBezTo>
                  <a:cubicBezTo>
                    <a:pt x="32021" y="168004"/>
                    <a:pt x="34800" y="171719"/>
                    <a:pt x="37724" y="175047"/>
                  </a:cubicBezTo>
                  <a:cubicBezTo>
                    <a:pt x="47755" y="186517"/>
                    <a:pt x="63780" y="194238"/>
                    <a:pt x="74992" y="186759"/>
                  </a:cubicBezTo>
                  <a:cubicBezTo>
                    <a:pt x="78723" y="184271"/>
                    <a:pt x="81405" y="180410"/>
                    <a:pt x="84264" y="176323"/>
                  </a:cubicBezTo>
                  <a:cubicBezTo>
                    <a:pt x="87608" y="171525"/>
                    <a:pt x="91081" y="166566"/>
                    <a:pt x="96509" y="163561"/>
                  </a:cubicBezTo>
                  <a:cubicBezTo>
                    <a:pt x="104586" y="159103"/>
                    <a:pt x="113729" y="160605"/>
                    <a:pt x="122549" y="162075"/>
                  </a:cubicBezTo>
                  <a:cubicBezTo>
                    <a:pt x="130869" y="163448"/>
                    <a:pt x="138720" y="164741"/>
                    <a:pt x="145020" y="161058"/>
                  </a:cubicBezTo>
                  <a:cubicBezTo>
                    <a:pt x="147443" y="159636"/>
                    <a:pt x="149495" y="157520"/>
                    <a:pt x="151659" y="155290"/>
                  </a:cubicBezTo>
                  <a:cubicBezTo>
                    <a:pt x="153662" y="153223"/>
                    <a:pt x="155730" y="151090"/>
                    <a:pt x="158250" y="149362"/>
                  </a:cubicBezTo>
                  <a:cubicBezTo>
                    <a:pt x="162547" y="146422"/>
                    <a:pt x="167474" y="145097"/>
                    <a:pt x="172256" y="143821"/>
                  </a:cubicBezTo>
                  <a:cubicBezTo>
                    <a:pt x="177086" y="142529"/>
                    <a:pt x="181641" y="141301"/>
                    <a:pt x="185195" y="138539"/>
                  </a:cubicBezTo>
                  <a:cubicBezTo>
                    <a:pt x="194872" y="130994"/>
                    <a:pt x="192756" y="115842"/>
                    <a:pt x="191883" y="111367"/>
                  </a:cubicBezTo>
                  <a:cubicBezTo>
                    <a:pt x="191076" y="107280"/>
                    <a:pt x="189848" y="103128"/>
                    <a:pt x="188653" y="99122"/>
                  </a:cubicBezTo>
                  <a:cubicBezTo>
                    <a:pt x="186746" y="92741"/>
                    <a:pt x="184792" y="86151"/>
                    <a:pt x="184339" y="79253"/>
                  </a:cubicBezTo>
                  <a:cubicBezTo>
                    <a:pt x="184291" y="78445"/>
                    <a:pt x="184565" y="77670"/>
                    <a:pt x="185115" y="77088"/>
                  </a:cubicBezTo>
                  <a:cubicBezTo>
                    <a:pt x="185664" y="76506"/>
                    <a:pt x="186423" y="76167"/>
                    <a:pt x="187231" y="76167"/>
                  </a:cubicBezTo>
                  <a:cubicBezTo>
                    <a:pt x="188653" y="76167"/>
                    <a:pt x="189816" y="75682"/>
                    <a:pt x="190849" y="74633"/>
                  </a:cubicBezTo>
                  <a:cubicBezTo>
                    <a:pt x="193321" y="72129"/>
                    <a:pt x="194888" y="66442"/>
                    <a:pt x="194823" y="60126"/>
                  </a:cubicBezTo>
                  <a:cubicBezTo>
                    <a:pt x="194727" y="50692"/>
                    <a:pt x="194630" y="40935"/>
                    <a:pt x="191286" y="32179"/>
                  </a:cubicBezTo>
                  <a:cubicBezTo>
                    <a:pt x="187796" y="23004"/>
                    <a:pt x="180559" y="16348"/>
                    <a:pt x="172837" y="15201"/>
                  </a:cubicBezTo>
                  <a:lnTo>
                    <a:pt x="172870" y="1512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7" name="Free-form: Shape 326">
              <a:extLst>
                <a:ext uri="{FF2B5EF4-FFF2-40B4-BE49-F238E27FC236}">
                  <a16:creationId xmlns:a16="http://schemas.microsoft.com/office/drawing/2014/main" id="{DE23E733-6976-69E7-5B81-4D1EDC50B065}"/>
                </a:ext>
              </a:extLst>
            </p:cNvPr>
            <p:cNvSpPr/>
            <p:nvPr/>
          </p:nvSpPr>
          <p:spPr>
            <a:xfrm>
              <a:off x="5254981" y="2812683"/>
              <a:ext cx="1020636" cy="929414"/>
            </a:xfrm>
            <a:custGeom>
              <a:avLst/>
              <a:gdLst>
                <a:gd name="connsiteX0" fmla="*/ 459149 w 1020636"/>
                <a:gd name="connsiteY0" fmla="*/ 823588 h 929414"/>
                <a:gd name="connsiteX1" fmla="*/ 459019 w 1020636"/>
                <a:gd name="connsiteY1" fmla="*/ 822619 h 929414"/>
                <a:gd name="connsiteX2" fmla="*/ 462864 w 1020636"/>
                <a:gd name="connsiteY2" fmla="*/ 793186 h 929414"/>
                <a:gd name="connsiteX3" fmla="*/ 478582 w 1020636"/>
                <a:gd name="connsiteY3" fmla="*/ 783413 h 929414"/>
                <a:gd name="connsiteX4" fmla="*/ 491489 w 1020636"/>
                <a:gd name="connsiteY4" fmla="*/ 787516 h 929414"/>
                <a:gd name="connsiteX5" fmla="*/ 492539 w 1020636"/>
                <a:gd name="connsiteY5" fmla="*/ 788614 h 929414"/>
                <a:gd name="connsiteX6" fmla="*/ 494510 w 1020636"/>
                <a:gd name="connsiteY6" fmla="*/ 790327 h 929414"/>
                <a:gd name="connsiteX7" fmla="*/ 499049 w 1020636"/>
                <a:gd name="connsiteY7" fmla="*/ 785561 h 929414"/>
                <a:gd name="connsiteX8" fmla="*/ 503217 w 1020636"/>
                <a:gd name="connsiteY8" fmla="*/ 779697 h 929414"/>
                <a:gd name="connsiteX9" fmla="*/ 530049 w 1020636"/>
                <a:gd name="connsiteY9" fmla="*/ 784915 h 929414"/>
                <a:gd name="connsiteX10" fmla="*/ 597994 w 1020636"/>
                <a:gd name="connsiteY10" fmla="*/ 817110 h 929414"/>
                <a:gd name="connsiteX11" fmla="*/ 613179 w 1020636"/>
                <a:gd name="connsiteY11" fmla="*/ 824444 h 929414"/>
                <a:gd name="connsiteX12" fmla="*/ 616426 w 1020636"/>
                <a:gd name="connsiteY12" fmla="*/ 832909 h 929414"/>
                <a:gd name="connsiteX13" fmla="*/ 617121 w 1020636"/>
                <a:gd name="connsiteY13" fmla="*/ 835736 h 929414"/>
                <a:gd name="connsiteX14" fmla="*/ 660252 w 1020636"/>
                <a:gd name="connsiteY14" fmla="*/ 861050 h 929414"/>
                <a:gd name="connsiteX15" fmla="*/ 672416 w 1020636"/>
                <a:gd name="connsiteY15" fmla="*/ 861389 h 929414"/>
                <a:gd name="connsiteX16" fmla="*/ 682319 w 1020636"/>
                <a:gd name="connsiteY16" fmla="*/ 854475 h 929414"/>
                <a:gd name="connsiteX17" fmla="*/ 685938 w 1020636"/>
                <a:gd name="connsiteY17" fmla="*/ 851212 h 929414"/>
                <a:gd name="connsiteX18" fmla="*/ 753284 w 1020636"/>
                <a:gd name="connsiteY18" fmla="*/ 840243 h 929414"/>
                <a:gd name="connsiteX19" fmla="*/ 753301 w 1020636"/>
                <a:gd name="connsiteY19" fmla="*/ 840243 h 929414"/>
                <a:gd name="connsiteX20" fmla="*/ 753268 w 1020636"/>
                <a:gd name="connsiteY20" fmla="*/ 838757 h 929414"/>
                <a:gd name="connsiteX21" fmla="*/ 756144 w 1020636"/>
                <a:gd name="connsiteY21" fmla="*/ 832489 h 929414"/>
                <a:gd name="connsiteX22" fmla="*/ 767403 w 1020636"/>
                <a:gd name="connsiteY22" fmla="*/ 831407 h 929414"/>
                <a:gd name="connsiteX23" fmla="*/ 833280 w 1020636"/>
                <a:gd name="connsiteY23" fmla="*/ 837400 h 929414"/>
                <a:gd name="connsiteX24" fmla="*/ 884941 w 1020636"/>
                <a:gd name="connsiteY24" fmla="*/ 864038 h 929414"/>
                <a:gd name="connsiteX25" fmla="*/ 886864 w 1020636"/>
                <a:gd name="connsiteY25" fmla="*/ 884199 h 929414"/>
                <a:gd name="connsiteX26" fmla="*/ 888414 w 1020636"/>
                <a:gd name="connsiteY26" fmla="*/ 902162 h 929414"/>
                <a:gd name="connsiteX27" fmla="*/ 903195 w 1020636"/>
                <a:gd name="connsiteY27" fmla="*/ 915635 h 929414"/>
                <a:gd name="connsiteX28" fmla="*/ 923065 w 1020636"/>
                <a:gd name="connsiteY28" fmla="*/ 913325 h 929414"/>
                <a:gd name="connsiteX29" fmla="*/ 924810 w 1020636"/>
                <a:gd name="connsiteY29" fmla="*/ 912033 h 929414"/>
                <a:gd name="connsiteX30" fmla="*/ 931142 w 1020636"/>
                <a:gd name="connsiteY30" fmla="*/ 908317 h 929414"/>
                <a:gd name="connsiteX31" fmla="*/ 951383 w 1020636"/>
                <a:gd name="connsiteY31" fmla="*/ 918963 h 929414"/>
                <a:gd name="connsiteX32" fmla="*/ 965050 w 1020636"/>
                <a:gd name="connsiteY32" fmla="*/ 929382 h 929414"/>
                <a:gd name="connsiteX33" fmla="*/ 980913 w 1020636"/>
                <a:gd name="connsiteY33" fmla="*/ 917961 h 929414"/>
                <a:gd name="connsiteX34" fmla="*/ 983272 w 1020636"/>
                <a:gd name="connsiteY34" fmla="*/ 915070 h 929414"/>
                <a:gd name="connsiteX35" fmla="*/ 1020636 w 1020636"/>
                <a:gd name="connsiteY35" fmla="*/ 894764 h 929414"/>
                <a:gd name="connsiteX36" fmla="*/ 1020588 w 1020636"/>
                <a:gd name="connsiteY36" fmla="*/ 894602 h 929414"/>
                <a:gd name="connsiteX37" fmla="*/ 1010282 w 1020636"/>
                <a:gd name="connsiteY37" fmla="*/ 880079 h 929414"/>
                <a:gd name="connsiteX38" fmla="*/ 1002027 w 1020636"/>
                <a:gd name="connsiteY38" fmla="*/ 872358 h 929414"/>
                <a:gd name="connsiteX39" fmla="*/ 994095 w 1020636"/>
                <a:gd name="connsiteY39" fmla="*/ 836835 h 929414"/>
                <a:gd name="connsiteX40" fmla="*/ 995371 w 1020636"/>
                <a:gd name="connsiteY40" fmla="*/ 834977 h 929414"/>
                <a:gd name="connsiteX41" fmla="*/ 997487 w 1020636"/>
                <a:gd name="connsiteY41" fmla="*/ 830567 h 929414"/>
                <a:gd name="connsiteX42" fmla="*/ 991284 w 1020636"/>
                <a:gd name="connsiteY42" fmla="*/ 826625 h 929414"/>
                <a:gd name="connsiteX43" fmla="*/ 985210 w 1020636"/>
                <a:gd name="connsiteY43" fmla="*/ 824105 h 929414"/>
                <a:gd name="connsiteX44" fmla="*/ 979023 w 1020636"/>
                <a:gd name="connsiteY44" fmla="*/ 797176 h 929414"/>
                <a:gd name="connsiteX45" fmla="*/ 979459 w 1020636"/>
                <a:gd name="connsiteY45" fmla="*/ 793994 h 929414"/>
                <a:gd name="connsiteX46" fmla="*/ 966665 w 1020636"/>
                <a:gd name="connsiteY46" fmla="*/ 756160 h 929414"/>
                <a:gd name="connsiteX47" fmla="*/ 930577 w 1020636"/>
                <a:gd name="connsiteY47" fmla="*/ 739086 h 929414"/>
                <a:gd name="connsiteX48" fmla="*/ 918865 w 1020636"/>
                <a:gd name="connsiteY48" fmla="*/ 736032 h 929414"/>
                <a:gd name="connsiteX49" fmla="*/ 901532 w 1020636"/>
                <a:gd name="connsiteY49" fmla="*/ 765207 h 929414"/>
                <a:gd name="connsiteX50" fmla="*/ 890191 w 1020636"/>
                <a:gd name="connsiteY50" fmla="*/ 783251 h 929414"/>
                <a:gd name="connsiteX51" fmla="*/ 881759 w 1020636"/>
                <a:gd name="connsiteY51" fmla="*/ 793557 h 929414"/>
                <a:gd name="connsiteX52" fmla="*/ 871242 w 1020636"/>
                <a:gd name="connsiteY52" fmla="*/ 796885 h 929414"/>
                <a:gd name="connsiteX53" fmla="*/ 866638 w 1020636"/>
                <a:gd name="connsiteY53" fmla="*/ 796368 h 929414"/>
                <a:gd name="connsiteX54" fmla="*/ 844491 w 1020636"/>
                <a:gd name="connsiteY54" fmla="*/ 778922 h 929414"/>
                <a:gd name="connsiteX55" fmla="*/ 838514 w 1020636"/>
                <a:gd name="connsiteY55" fmla="*/ 766483 h 929414"/>
                <a:gd name="connsiteX56" fmla="*/ 825106 w 1020636"/>
                <a:gd name="connsiteY56" fmla="*/ 744917 h 929414"/>
                <a:gd name="connsiteX57" fmla="*/ 818095 w 1020636"/>
                <a:gd name="connsiteY57" fmla="*/ 742139 h 929414"/>
                <a:gd name="connsiteX58" fmla="*/ 813830 w 1020636"/>
                <a:gd name="connsiteY58" fmla="*/ 759407 h 929414"/>
                <a:gd name="connsiteX59" fmla="*/ 802571 w 1020636"/>
                <a:gd name="connsiteY59" fmla="*/ 787952 h 929414"/>
                <a:gd name="connsiteX60" fmla="*/ 784430 w 1020636"/>
                <a:gd name="connsiteY60" fmla="*/ 790682 h 929414"/>
                <a:gd name="connsiteX61" fmla="*/ 773606 w 1020636"/>
                <a:gd name="connsiteY61" fmla="*/ 780990 h 929414"/>
                <a:gd name="connsiteX62" fmla="*/ 772233 w 1020636"/>
                <a:gd name="connsiteY62" fmla="*/ 773510 h 929414"/>
                <a:gd name="connsiteX63" fmla="*/ 771426 w 1020636"/>
                <a:gd name="connsiteY63" fmla="*/ 768179 h 929414"/>
                <a:gd name="connsiteX64" fmla="*/ 759746 w 1020636"/>
                <a:gd name="connsiteY64" fmla="*/ 755256 h 929414"/>
                <a:gd name="connsiteX65" fmla="*/ 758034 w 1020636"/>
                <a:gd name="connsiteY65" fmla="*/ 753963 h 929414"/>
                <a:gd name="connsiteX66" fmla="*/ 714950 w 1020636"/>
                <a:gd name="connsiteY66" fmla="*/ 684452 h 929414"/>
                <a:gd name="connsiteX67" fmla="*/ 714240 w 1020636"/>
                <a:gd name="connsiteY67" fmla="*/ 680478 h 929414"/>
                <a:gd name="connsiteX68" fmla="*/ 710120 w 1020636"/>
                <a:gd name="connsiteY68" fmla="*/ 665503 h 929414"/>
                <a:gd name="connsiteX69" fmla="*/ 703239 w 1020636"/>
                <a:gd name="connsiteY69" fmla="*/ 656004 h 929414"/>
                <a:gd name="connsiteX70" fmla="*/ 698360 w 1020636"/>
                <a:gd name="connsiteY70" fmla="*/ 649882 h 929414"/>
                <a:gd name="connsiteX71" fmla="*/ 686180 w 1020636"/>
                <a:gd name="connsiteY71" fmla="*/ 599190 h 929414"/>
                <a:gd name="connsiteX72" fmla="*/ 676956 w 1020636"/>
                <a:gd name="connsiteY72" fmla="*/ 554071 h 929414"/>
                <a:gd name="connsiteX73" fmla="*/ 672255 w 1020636"/>
                <a:gd name="connsiteY73" fmla="*/ 547028 h 929414"/>
                <a:gd name="connsiteX74" fmla="*/ 664404 w 1020636"/>
                <a:gd name="connsiteY74" fmla="*/ 533572 h 929414"/>
                <a:gd name="connsiteX75" fmla="*/ 662320 w 1020636"/>
                <a:gd name="connsiteY75" fmla="*/ 507256 h 929414"/>
                <a:gd name="connsiteX76" fmla="*/ 656618 w 1020636"/>
                <a:gd name="connsiteY76" fmla="*/ 478292 h 929414"/>
                <a:gd name="connsiteX77" fmla="*/ 643904 w 1020636"/>
                <a:gd name="connsiteY77" fmla="*/ 470780 h 929414"/>
                <a:gd name="connsiteX78" fmla="*/ 628509 w 1020636"/>
                <a:gd name="connsiteY78" fmla="*/ 461007 h 929414"/>
                <a:gd name="connsiteX79" fmla="*/ 630205 w 1020636"/>
                <a:gd name="connsiteY79" fmla="*/ 421009 h 929414"/>
                <a:gd name="connsiteX80" fmla="*/ 634406 w 1020636"/>
                <a:gd name="connsiteY80" fmla="*/ 414031 h 929414"/>
                <a:gd name="connsiteX81" fmla="*/ 645342 w 1020636"/>
                <a:gd name="connsiteY81" fmla="*/ 386940 h 929414"/>
                <a:gd name="connsiteX82" fmla="*/ 643549 w 1020636"/>
                <a:gd name="connsiteY82" fmla="*/ 374324 h 929414"/>
                <a:gd name="connsiteX83" fmla="*/ 641804 w 1020636"/>
                <a:gd name="connsiteY83" fmla="*/ 357651 h 929414"/>
                <a:gd name="connsiteX84" fmla="*/ 647184 w 1020636"/>
                <a:gd name="connsiteY84" fmla="*/ 341917 h 929414"/>
                <a:gd name="connsiteX85" fmla="*/ 648411 w 1020636"/>
                <a:gd name="connsiteY85" fmla="*/ 339283 h 929414"/>
                <a:gd name="connsiteX86" fmla="*/ 658007 w 1020636"/>
                <a:gd name="connsiteY86" fmla="*/ 268512 h 929414"/>
                <a:gd name="connsiteX87" fmla="*/ 657151 w 1020636"/>
                <a:gd name="connsiteY87" fmla="*/ 263617 h 929414"/>
                <a:gd name="connsiteX88" fmla="*/ 656908 w 1020636"/>
                <a:gd name="connsiteY88" fmla="*/ 236397 h 929414"/>
                <a:gd name="connsiteX89" fmla="*/ 694031 w 1020636"/>
                <a:gd name="connsiteY89" fmla="*/ 214121 h 929414"/>
                <a:gd name="connsiteX90" fmla="*/ 735143 w 1020636"/>
                <a:gd name="connsiteY90" fmla="*/ 228837 h 929414"/>
                <a:gd name="connsiteX91" fmla="*/ 735983 w 1020636"/>
                <a:gd name="connsiteY91" fmla="*/ 229322 h 929414"/>
                <a:gd name="connsiteX92" fmla="*/ 754819 w 1020636"/>
                <a:gd name="connsiteY92" fmla="*/ 237302 h 929414"/>
                <a:gd name="connsiteX93" fmla="*/ 769196 w 1020636"/>
                <a:gd name="connsiteY93" fmla="*/ 236672 h 929414"/>
                <a:gd name="connsiteX94" fmla="*/ 774107 w 1020636"/>
                <a:gd name="connsiteY94" fmla="*/ 236074 h 929414"/>
                <a:gd name="connsiteX95" fmla="*/ 839112 w 1020636"/>
                <a:gd name="connsiteY95" fmla="*/ 254748 h 929414"/>
                <a:gd name="connsiteX96" fmla="*/ 838320 w 1020636"/>
                <a:gd name="connsiteY96" fmla="*/ 249611 h 929414"/>
                <a:gd name="connsiteX97" fmla="*/ 800018 w 1020636"/>
                <a:gd name="connsiteY97" fmla="*/ 177418 h 929414"/>
                <a:gd name="connsiteX98" fmla="*/ 795802 w 1020636"/>
                <a:gd name="connsiteY98" fmla="*/ 171781 h 929414"/>
                <a:gd name="connsiteX99" fmla="*/ 777613 w 1020636"/>
                <a:gd name="connsiteY99" fmla="*/ 151458 h 929414"/>
                <a:gd name="connsiteX100" fmla="*/ 751879 w 1020636"/>
                <a:gd name="connsiteY100" fmla="*/ 127324 h 929414"/>
                <a:gd name="connsiteX101" fmla="*/ 722721 w 1020636"/>
                <a:gd name="connsiteY101" fmla="*/ 124013 h 929414"/>
                <a:gd name="connsiteX102" fmla="*/ 704919 w 1020636"/>
                <a:gd name="connsiteY102" fmla="*/ 123754 h 929414"/>
                <a:gd name="connsiteX103" fmla="*/ 696567 w 1020636"/>
                <a:gd name="connsiteY103" fmla="*/ 122607 h 929414"/>
                <a:gd name="connsiteX104" fmla="*/ 668943 w 1020636"/>
                <a:gd name="connsiteY104" fmla="*/ 125369 h 929414"/>
                <a:gd name="connsiteX105" fmla="*/ 666940 w 1020636"/>
                <a:gd name="connsiteY105" fmla="*/ 127308 h 929414"/>
                <a:gd name="connsiteX106" fmla="*/ 661884 w 1020636"/>
                <a:gd name="connsiteY106" fmla="*/ 131460 h 929414"/>
                <a:gd name="connsiteX107" fmla="*/ 651852 w 1020636"/>
                <a:gd name="connsiteY107" fmla="*/ 133253 h 929414"/>
                <a:gd name="connsiteX108" fmla="*/ 542391 w 1020636"/>
                <a:gd name="connsiteY108" fmla="*/ 122203 h 929414"/>
                <a:gd name="connsiteX109" fmla="*/ 524977 w 1020636"/>
                <a:gd name="connsiteY109" fmla="*/ 133560 h 929414"/>
                <a:gd name="connsiteX110" fmla="*/ 512086 w 1020636"/>
                <a:gd name="connsiteY110" fmla="*/ 130926 h 929414"/>
                <a:gd name="connsiteX111" fmla="*/ 506803 w 1020636"/>
                <a:gd name="connsiteY111" fmla="*/ 129198 h 929414"/>
                <a:gd name="connsiteX112" fmla="*/ 495011 w 1020636"/>
                <a:gd name="connsiteY112" fmla="*/ 132720 h 929414"/>
                <a:gd name="connsiteX113" fmla="*/ 495657 w 1020636"/>
                <a:gd name="connsiteY113" fmla="*/ 139456 h 929414"/>
                <a:gd name="connsiteX114" fmla="*/ 490116 w 1020636"/>
                <a:gd name="connsiteY114" fmla="*/ 167080 h 929414"/>
                <a:gd name="connsiteX115" fmla="*/ 471910 w 1020636"/>
                <a:gd name="connsiteY115" fmla="*/ 163429 h 929414"/>
                <a:gd name="connsiteX116" fmla="*/ 463123 w 1020636"/>
                <a:gd name="connsiteY116" fmla="*/ 149052 h 929414"/>
                <a:gd name="connsiteX117" fmla="*/ 462961 w 1020636"/>
                <a:gd name="connsiteY117" fmla="*/ 148696 h 929414"/>
                <a:gd name="connsiteX118" fmla="*/ 459116 w 1020636"/>
                <a:gd name="connsiteY118" fmla="*/ 139343 h 929414"/>
                <a:gd name="connsiteX119" fmla="*/ 439957 w 1020636"/>
                <a:gd name="connsiteY119" fmla="*/ 110330 h 929414"/>
                <a:gd name="connsiteX120" fmla="*/ 438778 w 1020636"/>
                <a:gd name="connsiteY120" fmla="*/ 111154 h 929414"/>
                <a:gd name="connsiteX121" fmla="*/ 432252 w 1020636"/>
                <a:gd name="connsiteY121" fmla="*/ 109571 h 929414"/>
                <a:gd name="connsiteX122" fmla="*/ 430039 w 1020636"/>
                <a:gd name="connsiteY122" fmla="*/ 88651 h 929414"/>
                <a:gd name="connsiteX123" fmla="*/ 431137 w 1020636"/>
                <a:gd name="connsiteY123" fmla="*/ 83643 h 929414"/>
                <a:gd name="connsiteX124" fmla="*/ 424579 w 1020636"/>
                <a:gd name="connsiteY124" fmla="*/ 60704 h 929414"/>
                <a:gd name="connsiteX125" fmla="*/ 406276 w 1020636"/>
                <a:gd name="connsiteY125" fmla="*/ 56084 h 929414"/>
                <a:gd name="connsiteX126" fmla="*/ 403675 w 1020636"/>
                <a:gd name="connsiteY126" fmla="*/ 58297 h 929414"/>
                <a:gd name="connsiteX127" fmla="*/ 396503 w 1020636"/>
                <a:gd name="connsiteY127" fmla="*/ 62772 h 929414"/>
                <a:gd name="connsiteX128" fmla="*/ 380704 w 1020636"/>
                <a:gd name="connsiteY128" fmla="*/ 50382 h 929414"/>
                <a:gd name="connsiteX129" fmla="*/ 373741 w 1020636"/>
                <a:gd name="connsiteY129" fmla="*/ 42821 h 929414"/>
                <a:gd name="connsiteX130" fmla="*/ 371221 w 1020636"/>
                <a:gd name="connsiteY130" fmla="*/ 42999 h 929414"/>
                <a:gd name="connsiteX131" fmla="*/ 368039 w 1020636"/>
                <a:gd name="connsiteY131" fmla="*/ 49509 h 929414"/>
                <a:gd name="connsiteX132" fmla="*/ 362660 w 1020636"/>
                <a:gd name="connsiteY132" fmla="*/ 59476 h 929414"/>
                <a:gd name="connsiteX133" fmla="*/ 352854 w 1020636"/>
                <a:gd name="connsiteY133" fmla="*/ 61205 h 929414"/>
                <a:gd name="connsiteX134" fmla="*/ 347571 w 1020636"/>
                <a:gd name="connsiteY134" fmla="*/ 61415 h 929414"/>
                <a:gd name="connsiteX135" fmla="*/ 341239 w 1020636"/>
                <a:gd name="connsiteY135" fmla="*/ 66810 h 929414"/>
                <a:gd name="connsiteX136" fmla="*/ 336506 w 1020636"/>
                <a:gd name="connsiteY136" fmla="*/ 71754 h 929414"/>
                <a:gd name="connsiteX137" fmla="*/ 318494 w 1020636"/>
                <a:gd name="connsiteY137" fmla="*/ 73111 h 929414"/>
                <a:gd name="connsiteX138" fmla="*/ 308139 w 1020636"/>
                <a:gd name="connsiteY138" fmla="*/ 58313 h 929414"/>
                <a:gd name="connsiteX139" fmla="*/ 309318 w 1020636"/>
                <a:gd name="connsiteY139" fmla="*/ 50511 h 929414"/>
                <a:gd name="connsiteX140" fmla="*/ 310320 w 1020636"/>
                <a:gd name="connsiteY140" fmla="*/ 43726 h 929414"/>
                <a:gd name="connsiteX141" fmla="*/ 297703 w 1020636"/>
                <a:gd name="connsiteY141" fmla="*/ 28800 h 929414"/>
                <a:gd name="connsiteX142" fmla="*/ 293019 w 1020636"/>
                <a:gd name="connsiteY142" fmla="*/ 26425 h 929414"/>
                <a:gd name="connsiteX143" fmla="*/ 277220 w 1020636"/>
                <a:gd name="connsiteY143" fmla="*/ 15650 h 929414"/>
                <a:gd name="connsiteX144" fmla="*/ 272842 w 1020636"/>
                <a:gd name="connsiteY144" fmla="*/ 9285 h 929414"/>
                <a:gd name="connsiteX145" fmla="*/ 263392 w 1020636"/>
                <a:gd name="connsiteY145" fmla="*/ 61 h 929414"/>
                <a:gd name="connsiteX146" fmla="*/ 257980 w 1020636"/>
                <a:gd name="connsiteY146" fmla="*/ 1967 h 929414"/>
                <a:gd name="connsiteX147" fmla="*/ 254588 w 1020636"/>
                <a:gd name="connsiteY147" fmla="*/ 9786 h 929414"/>
                <a:gd name="connsiteX148" fmla="*/ 263812 w 1020636"/>
                <a:gd name="connsiteY148" fmla="*/ 23824 h 929414"/>
                <a:gd name="connsiteX149" fmla="*/ 266413 w 1020636"/>
                <a:gd name="connsiteY149" fmla="*/ 25569 h 929414"/>
                <a:gd name="connsiteX150" fmla="*/ 275346 w 1020636"/>
                <a:gd name="connsiteY150" fmla="*/ 33517 h 929414"/>
                <a:gd name="connsiteX151" fmla="*/ 272390 w 1020636"/>
                <a:gd name="connsiteY151" fmla="*/ 59040 h 929414"/>
                <a:gd name="connsiteX152" fmla="*/ 267237 w 1020636"/>
                <a:gd name="connsiteY152" fmla="*/ 76826 h 929414"/>
                <a:gd name="connsiteX153" fmla="*/ 271081 w 1020636"/>
                <a:gd name="connsiteY153" fmla="*/ 87310 h 929414"/>
                <a:gd name="connsiteX154" fmla="*/ 274797 w 1020636"/>
                <a:gd name="connsiteY154" fmla="*/ 105144 h 929414"/>
                <a:gd name="connsiteX155" fmla="*/ 265347 w 1020636"/>
                <a:gd name="connsiteY155" fmla="*/ 114288 h 929414"/>
                <a:gd name="connsiteX156" fmla="*/ 252359 w 1020636"/>
                <a:gd name="connsiteY156" fmla="*/ 112236 h 929414"/>
                <a:gd name="connsiteX157" fmla="*/ 244992 w 1020636"/>
                <a:gd name="connsiteY157" fmla="*/ 95533 h 929414"/>
                <a:gd name="connsiteX158" fmla="*/ 244007 w 1020636"/>
                <a:gd name="connsiteY158" fmla="*/ 90444 h 929414"/>
                <a:gd name="connsiteX159" fmla="*/ 236851 w 1020636"/>
                <a:gd name="connsiteY159" fmla="*/ 81285 h 929414"/>
                <a:gd name="connsiteX160" fmla="*/ 233070 w 1020636"/>
                <a:gd name="connsiteY160" fmla="*/ 81592 h 929414"/>
                <a:gd name="connsiteX161" fmla="*/ 230211 w 1020636"/>
                <a:gd name="connsiteY161" fmla="*/ 86680 h 929414"/>
                <a:gd name="connsiteX162" fmla="*/ 229193 w 1020636"/>
                <a:gd name="connsiteY162" fmla="*/ 100379 h 929414"/>
                <a:gd name="connsiteX163" fmla="*/ 229097 w 1020636"/>
                <a:gd name="connsiteY163" fmla="*/ 107826 h 929414"/>
                <a:gd name="connsiteX164" fmla="*/ 218919 w 1020636"/>
                <a:gd name="connsiteY164" fmla="*/ 129117 h 929414"/>
                <a:gd name="connsiteX165" fmla="*/ 212765 w 1020636"/>
                <a:gd name="connsiteY165" fmla="*/ 130700 h 929414"/>
                <a:gd name="connsiteX166" fmla="*/ 205624 w 1020636"/>
                <a:gd name="connsiteY166" fmla="*/ 122413 h 929414"/>
                <a:gd name="connsiteX167" fmla="*/ 208064 w 1020636"/>
                <a:gd name="connsiteY167" fmla="*/ 98360 h 929414"/>
                <a:gd name="connsiteX168" fmla="*/ 208484 w 1020636"/>
                <a:gd name="connsiteY168" fmla="*/ 73450 h 929414"/>
                <a:gd name="connsiteX169" fmla="*/ 207579 w 1020636"/>
                <a:gd name="connsiteY169" fmla="*/ 72012 h 929414"/>
                <a:gd name="connsiteX170" fmla="*/ 204898 w 1020636"/>
                <a:gd name="connsiteY170" fmla="*/ 66132 h 929414"/>
                <a:gd name="connsiteX171" fmla="*/ 211602 w 1020636"/>
                <a:gd name="connsiteY171" fmla="*/ 53499 h 929414"/>
                <a:gd name="connsiteX172" fmla="*/ 215834 w 1020636"/>
                <a:gd name="connsiteY172" fmla="*/ 49025 h 929414"/>
                <a:gd name="connsiteX173" fmla="*/ 216803 w 1020636"/>
                <a:gd name="connsiteY173" fmla="*/ 40479 h 929414"/>
                <a:gd name="connsiteX174" fmla="*/ 207773 w 1020636"/>
                <a:gd name="connsiteY174" fmla="*/ 30480 h 929414"/>
                <a:gd name="connsiteX175" fmla="*/ 182136 w 1020636"/>
                <a:gd name="connsiteY175" fmla="*/ 32273 h 929414"/>
                <a:gd name="connsiteX176" fmla="*/ 172654 w 1020636"/>
                <a:gd name="connsiteY176" fmla="*/ 33016 h 929414"/>
                <a:gd name="connsiteX177" fmla="*/ 167727 w 1020636"/>
                <a:gd name="connsiteY177" fmla="*/ 29107 h 929414"/>
                <a:gd name="connsiteX178" fmla="*/ 167307 w 1020636"/>
                <a:gd name="connsiteY178" fmla="*/ 28638 h 929414"/>
                <a:gd name="connsiteX179" fmla="*/ 151799 w 1020636"/>
                <a:gd name="connsiteY179" fmla="*/ 21482 h 929414"/>
                <a:gd name="connsiteX180" fmla="*/ 144562 w 1020636"/>
                <a:gd name="connsiteY180" fmla="*/ 26312 h 929414"/>
                <a:gd name="connsiteX181" fmla="*/ 143673 w 1020636"/>
                <a:gd name="connsiteY181" fmla="*/ 32192 h 929414"/>
                <a:gd name="connsiteX182" fmla="*/ 148859 w 1020636"/>
                <a:gd name="connsiteY182" fmla="*/ 38395 h 929414"/>
                <a:gd name="connsiteX183" fmla="*/ 149763 w 1020636"/>
                <a:gd name="connsiteY183" fmla="*/ 39203 h 929414"/>
                <a:gd name="connsiteX184" fmla="*/ 171006 w 1020636"/>
                <a:gd name="connsiteY184" fmla="*/ 74920 h 929414"/>
                <a:gd name="connsiteX185" fmla="*/ 170279 w 1020636"/>
                <a:gd name="connsiteY185" fmla="*/ 77618 h 929414"/>
                <a:gd name="connsiteX186" fmla="*/ 167614 w 1020636"/>
                <a:gd name="connsiteY186" fmla="*/ 78441 h 929414"/>
                <a:gd name="connsiteX187" fmla="*/ 153188 w 1020636"/>
                <a:gd name="connsiteY187" fmla="*/ 77601 h 929414"/>
                <a:gd name="connsiteX188" fmla="*/ 145725 w 1020636"/>
                <a:gd name="connsiteY188" fmla="*/ 85743 h 929414"/>
                <a:gd name="connsiteX189" fmla="*/ 154125 w 1020636"/>
                <a:gd name="connsiteY189" fmla="*/ 95791 h 929414"/>
                <a:gd name="connsiteX190" fmla="*/ 180214 w 1020636"/>
                <a:gd name="connsiteY190" fmla="*/ 113561 h 929414"/>
                <a:gd name="connsiteX191" fmla="*/ 184996 w 1020636"/>
                <a:gd name="connsiteY191" fmla="*/ 122155 h 929414"/>
                <a:gd name="connsiteX192" fmla="*/ 180359 w 1020636"/>
                <a:gd name="connsiteY192" fmla="*/ 127260 h 929414"/>
                <a:gd name="connsiteX193" fmla="*/ 178792 w 1020636"/>
                <a:gd name="connsiteY193" fmla="*/ 128261 h 929414"/>
                <a:gd name="connsiteX194" fmla="*/ 176838 w 1020636"/>
                <a:gd name="connsiteY194" fmla="*/ 136952 h 929414"/>
                <a:gd name="connsiteX195" fmla="*/ 172525 w 1020636"/>
                <a:gd name="connsiteY195" fmla="*/ 150231 h 929414"/>
                <a:gd name="connsiteX196" fmla="*/ 161604 w 1020636"/>
                <a:gd name="connsiteY196" fmla="*/ 152185 h 929414"/>
                <a:gd name="connsiteX197" fmla="*/ 154642 w 1020636"/>
                <a:gd name="connsiteY197" fmla="*/ 152961 h 929414"/>
                <a:gd name="connsiteX198" fmla="*/ 152639 w 1020636"/>
                <a:gd name="connsiteY198" fmla="*/ 162411 h 929414"/>
                <a:gd name="connsiteX199" fmla="*/ 147615 w 1020636"/>
                <a:gd name="connsiteY199" fmla="*/ 176724 h 929414"/>
                <a:gd name="connsiteX200" fmla="*/ 129570 w 1020636"/>
                <a:gd name="connsiteY200" fmla="*/ 170488 h 929414"/>
                <a:gd name="connsiteX201" fmla="*/ 121235 w 1020636"/>
                <a:gd name="connsiteY201" fmla="*/ 167306 h 929414"/>
                <a:gd name="connsiteX202" fmla="*/ 119797 w 1020636"/>
                <a:gd name="connsiteY202" fmla="*/ 168453 h 929414"/>
                <a:gd name="connsiteX203" fmla="*/ 119442 w 1020636"/>
                <a:gd name="connsiteY203" fmla="*/ 169810 h 929414"/>
                <a:gd name="connsiteX204" fmla="*/ 118473 w 1020636"/>
                <a:gd name="connsiteY204" fmla="*/ 172798 h 929414"/>
                <a:gd name="connsiteX205" fmla="*/ 111219 w 1020636"/>
                <a:gd name="connsiteY205" fmla="*/ 176191 h 929414"/>
                <a:gd name="connsiteX206" fmla="*/ 103078 w 1020636"/>
                <a:gd name="connsiteY206" fmla="*/ 168727 h 929414"/>
                <a:gd name="connsiteX207" fmla="*/ 107148 w 1020636"/>
                <a:gd name="connsiteY207" fmla="*/ 154706 h 929414"/>
                <a:gd name="connsiteX208" fmla="*/ 107585 w 1020636"/>
                <a:gd name="connsiteY208" fmla="*/ 153962 h 929414"/>
                <a:gd name="connsiteX209" fmla="*/ 113061 w 1020636"/>
                <a:gd name="connsiteY209" fmla="*/ 85162 h 929414"/>
                <a:gd name="connsiteX210" fmla="*/ 103126 w 1020636"/>
                <a:gd name="connsiteY210" fmla="*/ 74952 h 929414"/>
                <a:gd name="connsiteX211" fmla="*/ 100493 w 1020636"/>
                <a:gd name="connsiteY211" fmla="*/ 90056 h 929414"/>
                <a:gd name="connsiteX212" fmla="*/ 100897 w 1020636"/>
                <a:gd name="connsiteY212" fmla="*/ 93158 h 929414"/>
                <a:gd name="connsiteX213" fmla="*/ 100509 w 1020636"/>
                <a:gd name="connsiteY213" fmla="*/ 110475 h 929414"/>
                <a:gd name="connsiteX214" fmla="*/ 90800 w 1020636"/>
                <a:gd name="connsiteY214" fmla="*/ 120297 h 929414"/>
                <a:gd name="connsiteX215" fmla="*/ 81156 w 1020636"/>
                <a:gd name="connsiteY215" fmla="*/ 119392 h 929414"/>
                <a:gd name="connsiteX216" fmla="*/ 73871 w 1020636"/>
                <a:gd name="connsiteY216" fmla="*/ 105451 h 929414"/>
                <a:gd name="connsiteX217" fmla="*/ 68718 w 1020636"/>
                <a:gd name="connsiteY217" fmla="*/ 96147 h 929414"/>
                <a:gd name="connsiteX218" fmla="*/ 62062 w 1020636"/>
                <a:gd name="connsiteY218" fmla="*/ 100250 h 929414"/>
                <a:gd name="connsiteX219" fmla="*/ 62531 w 1020636"/>
                <a:gd name="connsiteY219" fmla="*/ 133026 h 929414"/>
                <a:gd name="connsiteX220" fmla="*/ 63726 w 1020636"/>
                <a:gd name="connsiteY220" fmla="*/ 134464 h 929414"/>
                <a:gd name="connsiteX221" fmla="*/ 68201 w 1020636"/>
                <a:gd name="connsiteY221" fmla="*/ 142057 h 929414"/>
                <a:gd name="connsiteX222" fmla="*/ 60414 w 1020636"/>
                <a:gd name="connsiteY222" fmla="*/ 158599 h 929414"/>
                <a:gd name="connsiteX223" fmla="*/ 44777 w 1020636"/>
                <a:gd name="connsiteY223" fmla="*/ 173541 h 929414"/>
                <a:gd name="connsiteX224" fmla="*/ 35811 w 1020636"/>
                <a:gd name="connsiteY224" fmla="*/ 178501 h 929414"/>
                <a:gd name="connsiteX225" fmla="*/ 23389 w 1020636"/>
                <a:gd name="connsiteY225" fmla="*/ 169729 h 929414"/>
                <a:gd name="connsiteX226" fmla="*/ 22953 w 1020636"/>
                <a:gd name="connsiteY226" fmla="*/ 169131 h 929414"/>
                <a:gd name="connsiteX227" fmla="*/ 17234 w 1020636"/>
                <a:gd name="connsiteY227" fmla="*/ 164883 h 929414"/>
                <a:gd name="connsiteX228" fmla="*/ 15635 w 1020636"/>
                <a:gd name="connsiteY228" fmla="*/ 165254 h 929414"/>
                <a:gd name="connsiteX229" fmla="*/ 16071 w 1020636"/>
                <a:gd name="connsiteY229" fmla="*/ 172378 h 929414"/>
                <a:gd name="connsiteX230" fmla="*/ 17654 w 1020636"/>
                <a:gd name="connsiteY230" fmla="*/ 181748 h 929414"/>
                <a:gd name="connsiteX231" fmla="*/ 15328 w 1020636"/>
                <a:gd name="connsiteY231" fmla="*/ 187983 h 929414"/>
                <a:gd name="connsiteX232" fmla="*/ 14003 w 1020636"/>
                <a:gd name="connsiteY232" fmla="*/ 190729 h 929414"/>
                <a:gd name="connsiteX233" fmla="*/ 14924 w 1020636"/>
                <a:gd name="connsiteY233" fmla="*/ 204961 h 929414"/>
                <a:gd name="connsiteX234" fmla="*/ 14116 w 1020636"/>
                <a:gd name="connsiteY234" fmla="*/ 224702 h 929414"/>
                <a:gd name="connsiteX235" fmla="*/ 8899 w 1020636"/>
                <a:gd name="connsiteY235" fmla="*/ 229871 h 929414"/>
                <a:gd name="connsiteX236" fmla="*/ 6895 w 1020636"/>
                <a:gd name="connsiteY236" fmla="*/ 231519 h 929414"/>
                <a:gd name="connsiteX237" fmla="*/ 159 w 1020636"/>
                <a:gd name="connsiteY237" fmla="*/ 251049 h 929414"/>
                <a:gd name="connsiteX238" fmla="*/ 10950 w 1020636"/>
                <a:gd name="connsiteY238" fmla="*/ 268657 h 929414"/>
                <a:gd name="connsiteX239" fmla="*/ 16152 w 1020636"/>
                <a:gd name="connsiteY239" fmla="*/ 269303 h 929414"/>
                <a:gd name="connsiteX240" fmla="*/ 17008 w 1020636"/>
                <a:gd name="connsiteY240" fmla="*/ 266186 h 929414"/>
                <a:gd name="connsiteX241" fmla="*/ 17153 w 1020636"/>
                <a:gd name="connsiteY241" fmla="*/ 264667 h 929414"/>
                <a:gd name="connsiteX242" fmla="*/ 21773 w 1020636"/>
                <a:gd name="connsiteY242" fmla="*/ 249353 h 929414"/>
                <a:gd name="connsiteX243" fmla="*/ 33033 w 1020636"/>
                <a:gd name="connsiteY243" fmla="*/ 244911 h 929414"/>
                <a:gd name="connsiteX244" fmla="*/ 40108 w 1020636"/>
                <a:gd name="connsiteY244" fmla="*/ 249951 h 929414"/>
                <a:gd name="connsiteX245" fmla="*/ 40593 w 1020636"/>
                <a:gd name="connsiteY245" fmla="*/ 258189 h 929414"/>
                <a:gd name="connsiteX246" fmla="*/ 40884 w 1020636"/>
                <a:gd name="connsiteY246" fmla="*/ 263391 h 929414"/>
                <a:gd name="connsiteX247" fmla="*/ 49930 w 1020636"/>
                <a:gd name="connsiteY247" fmla="*/ 262842 h 929414"/>
                <a:gd name="connsiteX248" fmla="*/ 64501 w 1020636"/>
                <a:gd name="connsiteY248" fmla="*/ 265216 h 929414"/>
                <a:gd name="connsiteX249" fmla="*/ 66165 w 1020636"/>
                <a:gd name="connsiteY249" fmla="*/ 275862 h 929414"/>
                <a:gd name="connsiteX250" fmla="*/ 53662 w 1020636"/>
                <a:gd name="connsiteY250" fmla="*/ 288866 h 929414"/>
                <a:gd name="connsiteX251" fmla="*/ 40609 w 1020636"/>
                <a:gd name="connsiteY251" fmla="*/ 291402 h 929414"/>
                <a:gd name="connsiteX252" fmla="*/ 29027 w 1020636"/>
                <a:gd name="connsiteY252" fmla="*/ 293583 h 929414"/>
                <a:gd name="connsiteX253" fmla="*/ 20013 w 1020636"/>
                <a:gd name="connsiteY253" fmla="*/ 302678 h 929414"/>
                <a:gd name="connsiteX254" fmla="*/ 20804 w 1020636"/>
                <a:gd name="connsiteY254" fmla="*/ 308445 h 929414"/>
                <a:gd name="connsiteX255" fmla="*/ 33954 w 1020636"/>
                <a:gd name="connsiteY255" fmla="*/ 311692 h 929414"/>
                <a:gd name="connsiteX256" fmla="*/ 43695 w 1020636"/>
                <a:gd name="connsiteY256" fmla="*/ 312209 h 929414"/>
                <a:gd name="connsiteX257" fmla="*/ 49429 w 1020636"/>
                <a:gd name="connsiteY257" fmla="*/ 313954 h 929414"/>
                <a:gd name="connsiteX258" fmla="*/ 55520 w 1020636"/>
                <a:gd name="connsiteY258" fmla="*/ 315634 h 929414"/>
                <a:gd name="connsiteX259" fmla="*/ 74355 w 1020636"/>
                <a:gd name="connsiteY259" fmla="*/ 302193 h 929414"/>
                <a:gd name="connsiteX260" fmla="*/ 76795 w 1020636"/>
                <a:gd name="connsiteY260" fmla="*/ 298236 h 929414"/>
                <a:gd name="connsiteX261" fmla="*/ 91657 w 1020636"/>
                <a:gd name="connsiteY261" fmla="*/ 280224 h 929414"/>
                <a:gd name="connsiteX262" fmla="*/ 100929 w 1020636"/>
                <a:gd name="connsiteY262" fmla="*/ 279303 h 929414"/>
                <a:gd name="connsiteX263" fmla="*/ 107278 w 1020636"/>
                <a:gd name="connsiteY263" fmla="*/ 286136 h 929414"/>
                <a:gd name="connsiteX264" fmla="*/ 103158 w 1020636"/>
                <a:gd name="connsiteY264" fmla="*/ 299819 h 929414"/>
                <a:gd name="connsiteX265" fmla="*/ 102932 w 1020636"/>
                <a:gd name="connsiteY265" fmla="*/ 300174 h 929414"/>
                <a:gd name="connsiteX266" fmla="*/ 90429 w 1020636"/>
                <a:gd name="connsiteY266" fmla="*/ 344550 h 929414"/>
                <a:gd name="connsiteX267" fmla="*/ 92803 w 1020636"/>
                <a:gd name="connsiteY267" fmla="*/ 351076 h 929414"/>
                <a:gd name="connsiteX268" fmla="*/ 100057 w 1020636"/>
                <a:gd name="connsiteY268" fmla="*/ 344194 h 929414"/>
                <a:gd name="connsiteX269" fmla="*/ 123383 w 1020636"/>
                <a:gd name="connsiteY269" fmla="*/ 321482 h 929414"/>
                <a:gd name="connsiteX270" fmla="*/ 125193 w 1020636"/>
                <a:gd name="connsiteY270" fmla="*/ 320561 h 929414"/>
                <a:gd name="connsiteX271" fmla="*/ 132737 w 1020636"/>
                <a:gd name="connsiteY271" fmla="*/ 315214 h 929414"/>
                <a:gd name="connsiteX272" fmla="*/ 133528 w 1020636"/>
                <a:gd name="connsiteY272" fmla="*/ 303583 h 929414"/>
                <a:gd name="connsiteX273" fmla="*/ 122220 w 1020636"/>
                <a:gd name="connsiteY273" fmla="*/ 279303 h 929414"/>
                <a:gd name="connsiteX274" fmla="*/ 121073 w 1020636"/>
                <a:gd name="connsiteY274" fmla="*/ 277833 h 929414"/>
                <a:gd name="connsiteX275" fmla="*/ 113303 w 1020636"/>
                <a:gd name="connsiteY275" fmla="*/ 254959 h 929414"/>
                <a:gd name="connsiteX276" fmla="*/ 123448 w 1020636"/>
                <a:gd name="connsiteY276" fmla="*/ 245282 h 929414"/>
                <a:gd name="connsiteX277" fmla="*/ 144820 w 1020636"/>
                <a:gd name="connsiteY277" fmla="*/ 241470 h 929414"/>
                <a:gd name="connsiteX278" fmla="*/ 162735 w 1020636"/>
                <a:gd name="connsiteY278" fmla="*/ 260112 h 929414"/>
                <a:gd name="connsiteX279" fmla="*/ 165885 w 1020636"/>
                <a:gd name="connsiteY279" fmla="*/ 299431 h 929414"/>
                <a:gd name="connsiteX280" fmla="*/ 165077 w 1020636"/>
                <a:gd name="connsiteY280" fmla="*/ 302662 h 929414"/>
                <a:gd name="connsiteX281" fmla="*/ 163979 w 1020636"/>
                <a:gd name="connsiteY281" fmla="*/ 316474 h 929414"/>
                <a:gd name="connsiteX282" fmla="*/ 170101 w 1020636"/>
                <a:gd name="connsiteY282" fmla="*/ 321304 h 929414"/>
                <a:gd name="connsiteX283" fmla="*/ 173381 w 1020636"/>
                <a:gd name="connsiteY283" fmla="*/ 320092 h 929414"/>
                <a:gd name="connsiteX284" fmla="*/ 174253 w 1020636"/>
                <a:gd name="connsiteY284" fmla="*/ 318105 h 929414"/>
                <a:gd name="connsiteX285" fmla="*/ 176062 w 1020636"/>
                <a:gd name="connsiteY285" fmla="*/ 314454 h 929414"/>
                <a:gd name="connsiteX286" fmla="*/ 187936 w 1020636"/>
                <a:gd name="connsiteY286" fmla="*/ 310852 h 929414"/>
                <a:gd name="connsiteX287" fmla="*/ 195108 w 1020636"/>
                <a:gd name="connsiteY287" fmla="*/ 309867 h 929414"/>
                <a:gd name="connsiteX288" fmla="*/ 196368 w 1020636"/>
                <a:gd name="connsiteY288" fmla="*/ 300368 h 929414"/>
                <a:gd name="connsiteX289" fmla="*/ 196546 w 1020636"/>
                <a:gd name="connsiteY289" fmla="*/ 289141 h 929414"/>
                <a:gd name="connsiteX290" fmla="*/ 200423 w 1020636"/>
                <a:gd name="connsiteY290" fmla="*/ 282308 h 929414"/>
                <a:gd name="connsiteX291" fmla="*/ 203266 w 1020636"/>
                <a:gd name="connsiteY291" fmla="*/ 275297 h 929414"/>
                <a:gd name="connsiteX292" fmla="*/ 199809 w 1020636"/>
                <a:gd name="connsiteY292" fmla="*/ 270870 h 929414"/>
                <a:gd name="connsiteX293" fmla="*/ 196917 w 1020636"/>
                <a:gd name="connsiteY293" fmla="*/ 259433 h 929414"/>
                <a:gd name="connsiteX294" fmla="*/ 198339 w 1020636"/>
                <a:gd name="connsiteY294" fmla="*/ 258529 h 929414"/>
                <a:gd name="connsiteX295" fmla="*/ 202587 w 1020636"/>
                <a:gd name="connsiteY295" fmla="*/ 257333 h 929414"/>
                <a:gd name="connsiteX296" fmla="*/ 205738 w 1020636"/>
                <a:gd name="connsiteY296" fmla="*/ 235444 h 929414"/>
                <a:gd name="connsiteX297" fmla="*/ 210568 w 1020636"/>
                <a:gd name="connsiteY297" fmla="*/ 231115 h 929414"/>
                <a:gd name="connsiteX298" fmla="*/ 217982 w 1020636"/>
                <a:gd name="connsiteY298" fmla="*/ 234378 h 929414"/>
                <a:gd name="connsiteX299" fmla="*/ 219598 w 1020636"/>
                <a:gd name="connsiteY299" fmla="*/ 235880 h 929414"/>
                <a:gd name="connsiteX300" fmla="*/ 227950 w 1020636"/>
                <a:gd name="connsiteY300" fmla="*/ 234895 h 929414"/>
                <a:gd name="connsiteX301" fmla="*/ 237917 w 1020636"/>
                <a:gd name="connsiteY301" fmla="*/ 232763 h 929414"/>
                <a:gd name="connsiteX302" fmla="*/ 246252 w 1020636"/>
                <a:gd name="connsiteY302" fmla="*/ 237302 h 929414"/>
                <a:gd name="connsiteX303" fmla="*/ 250210 w 1020636"/>
                <a:gd name="connsiteY303" fmla="*/ 250484 h 929414"/>
                <a:gd name="connsiteX304" fmla="*/ 245283 w 1020636"/>
                <a:gd name="connsiteY304" fmla="*/ 265152 h 929414"/>
                <a:gd name="connsiteX305" fmla="*/ 243280 w 1020636"/>
                <a:gd name="connsiteY305" fmla="*/ 269497 h 929414"/>
                <a:gd name="connsiteX306" fmla="*/ 242391 w 1020636"/>
                <a:gd name="connsiteY306" fmla="*/ 285538 h 929414"/>
                <a:gd name="connsiteX307" fmla="*/ 244104 w 1020636"/>
                <a:gd name="connsiteY307" fmla="*/ 287865 h 929414"/>
                <a:gd name="connsiteX308" fmla="*/ 246737 w 1020636"/>
                <a:gd name="connsiteY308" fmla="*/ 291677 h 929414"/>
                <a:gd name="connsiteX309" fmla="*/ 242779 w 1020636"/>
                <a:gd name="connsiteY309" fmla="*/ 311385 h 929414"/>
                <a:gd name="connsiteX310" fmla="*/ 238159 w 1020636"/>
                <a:gd name="connsiteY310" fmla="*/ 316490 h 929414"/>
                <a:gd name="connsiteX311" fmla="*/ 231520 w 1020636"/>
                <a:gd name="connsiteY311" fmla="*/ 324648 h 929414"/>
                <a:gd name="connsiteX312" fmla="*/ 230922 w 1020636"/>
                <a:gd name="connsiteY312" fmla="*/ 332789 h 929414"/>
                <a:gd name="connsiteX313" fmla="*/ 234185 w 1020636"/>
                <a:gd name="connsiteY313" fmla="*/ 335406 h 929414"/>
                <a:gd name="connsiteX314" fmla="*/ 235009 w 1020636"/>
                <a:gd name="connsiteY314" fmla="*/ 335940 h 929414"/>
                <a:gd name="connsiteX315" fmla="*/ 248239 w 1020636"/>
                <a:gd name="connsiteY315" fmla="*/ 356278 h 929414"/>
                <a:gd name="connsiteX316" fmla="*/ 243442 w 1020636"/>
                <a:gd name="connsiteY316" fmla="*/ 369897 h 929414"/>
                <a:gd name="connsiteX317" fmla="*/ 232909 w 1020636"/>
                <a:gd name="connsiteY317" fmla="*/ 375147 h 929414"/>
                <a:gd name="connsiteX318" fmla="*/ 220680 w 1020636"/>
                <a:gd name="connsiteY318" fmla="*/ 371723 h 929414"/>
                <a:gd name="connsiteX319" fmla="*/ 216739 w 1020636"/>
                <a:gd name="connsiteY319" fmla="*/ 369978 h 929414"/>
                <a:gd name="connsiteX320" fmla="*/ 206206 w 1020636"/>
                <a:gd name="connsiteY320" fmla="*/ 371529 h 929414"/>
                <a:gd name="connsiteX321" fmla="*/ 210697 w 1020636"/>
                <a:gd name="connsiteY321" fmla="*/ 382659 h 929414"/>
                <a:gd name="connsiteX322" fmla="*/ 211763 w 1020636"/>
                <a:gd name="connsiteY322" fmla="*/ 384081 h 929414"/>
                <a:gd name="connsiteX323" fmla="*/ 222635 w 1020636"/>
                <a:gd name="connsiteY323" fmla="*/ 417455 h 929414"/>
                <a:gd name="connsiteX324" fmla="*/ 241810 w 1020636"/>
                <a:gd name="connsiteY324" fmla="*/ 419846 h 929414"/>
                <a:gd name="connsiteX325" fmla="*/ 253182 w 1020636"/>
                <a:gd name="connsiteY325" fmla="*/ 439700 h 929414"/>
                <a:gd name="connsiteX326" fmla="*/ 250824 w 1020636"/>
                <a:gd name="connsiteY326" fmla="*/ 445305 h 929414"/>
                <a:gd name="connsiteX327" fmla="*/ 245105 w 1020636"/>
                <a:gd name="connsiteY327" fmla="*/ 447874 h 929414"/>
                <a:gd name="connsiteX328" fmla="*/ 234250 w 1020636"/>
                <a:gd name="connsiteY328" fmla="*/ 442833 h 929414"/>
                <a:gd name="connsiteX329" fmla="*/ 233927 w 1020636"/>
                <a:gd name="connsiteY329" fmla="*/ 442510 h 929414"/>
                <a:gd name="connsiteX330" fmla="*/ 225090 w 1020636"/>
                <a:gd name="connsiteY330" fmla="*/ 437309 h 929414"/>
                <a:gd name="connsiteX331" fmla="*/ 221149 w 1020636"/>
                <a:gd name="connsiteY331" fmla="*/ 446048 h 929414"/>
                <a:gd name="connsiteX332" fmla="*/ 215333 w 1020636"/>
                <a:gd name="connsiteY332" fmla="*/ 459327 h 929414"/>
                <a:gd name="connsiteX333" fmla="*/ 205931 w 1020636"/>
                <a:gd name="connsiteY333" fmla="*/ 461976 h 929414"/>
                <a:gd name="connsiteX334" fmla="*/ 199567 w 1020636"/>
                <a:gd name="connsiteY334" fmla="*/ 463479 h 929414"/>
                <a:gd name="connsiteX335" fmla="*/ 197741 w 1020636"/>
                <a:gd name="connsiteY335" fmla="*/ 466806 h 929414"/>
                <a:gd name="connsiteX336" fmla="*/ 201376 w 1020636"/>
                <a:gd name="connsiteY336" fmla="*/ 476871 h 929414"/>
                <a:gd name="connsiteX337" fmla="*/ 204332 w 1020636"/>
                <a:gd name="connsiteY337" fmla="*/ 480182 h 929414"/>
                <a:gd name="connsiteX338" fmla="*/ 212765 w 1020636"/>
                <a:gd name="connsiteY338" fmla="*/ 494640 h 929414"/>
                <a:gd name="connsiteX339" fmla="*/ 212005 w 1020636"/>
                <a:gd name="connsiteY339" fmla="*/ 502556 h 929414"/>
                <a:gd name="connsiteX340" fmla="*/ 211311 w 1020636"/>
                <a:gd name="connsiteY340" fmla="*/ 506885 h 929414"/>
                <a:gd name="connsiteX341" fmla="*/ 214332 w 1020636"/>
                <a:gd name="connsiteY341" fmla="*/ 512959 h 929414"/>
                <a:gd name="connsiteX342" fmla="*/ 217756 w 1020636"/>
                <a:gd name="connsiteY342" fmla="*/ 511860 h 929414"/>
                <a:gd name="connsiteX343" fmla="*/ 240792 w 1020636"/>
                <a:gd name="connsiteY343" fmla="*/ 491005 h 929414"/>
                <a:gd name="connsiteX344" fmla="*/ 267430 w 1020636"/>
                <a:gd name="connsiteY344" fmla="*/ 467921 h 929414"/>
                <a:gd name="connsiteX345" fmla="*/ 284053 w 1020636"/>
                <a:gd name="connsiteY345" fmla="*/ 468567 h 929414"/>
                <a:gd name="connsiteX346" fmla="*/ 283795 w 1020636"/>
                <a:gd name="connsiteY346" fmla="*/ 486046 h 929414"/>
                <a:gd name="connsiteX347" fmla="*/ 274280 w 1020636"/>
                <a:gd name="connsiteY347" fmla="*/ 493412 h 929414"/>
                <a:gd name="connsiteX348" fmla="*/ 271146 w 1020636"/>
                <a:gd name="connsiteY348" fmla="*/ 495351 h 929414"/>
                <a:gd name="connsiteX349" fmla="*/ 244298 w 1020636"/>
                <a:gd name="connsiteY349" fmla="*/ 538983 h 929414"/>
                <a:gd name="connsiteX350" fmla="*/ 231778 w 1020636"/>
                <a:gd name="connsiteY350" fmla="*/ 551697 h 929414"/>
                <a:gd name="connsiteX351" fmla="*/ 226302 w 1020636"/>
                <a:gd name="connsiteY351" fmla="*/ 548918 h 929414"/>
                <a:gd name="connsiteX352" fmla="*/ 225333 w 1020636"/>
                <a:gd name="connsiteY352" fmla="*/ 548207 h 929414"/>
                <a:gd name="connsiteX353" fmla="*/ 209405 w 1020636"/>
                <a:gd name="connsiteY353" fmla="*/ 546980 h 929414"/>
                <a:gd name="connsiteX354" fmla="*/ 230970 w 1020636"/>
                <a:gd name="connsiteY354" fmla="*/ 574103 h 929414"/>
                <a:gd name="connsiteX355" fmla="*/ 236673 w 1020636"/>
                <a:gd name="connsiteY355" fmla="*/ 576106 h 929414"/>
                <a:gd name="connsiteX356" fmla="*/ 241551 w 1020636"/>
                <a:gd name="connsiteY356" fmla="*/ 570936 h 929414"/>
                <a:gd name="connsiteX357" fmla="*/ 244863 w 1020636"/>
                <a:gd name="connsiteY357" fmla="*/ 566203 h 929414"/>
                <a:gd name="connsiteX358" fmla="*/ 259531 w 1020636"/>
                <a:gd name="connsiteY358" fmla="*/ 562633 h 929414"/>
                <a:gd name="connsiteX359" fmla="*/ 269450 w 1020636"/>
                <a:gd name="connsiteY359" fmla="*/ 571017 h 929414"/>
                <a:gd name="connsiteX360" fmla="*/ 274328 w 1020636"/>
                <a:gd name="connsiteY360" fmla="*/ 569095 h 929414"/>
                <a:gd name="connsiteX361" fmla="*/ 278431 w 1020636"/>
                <a:gd name="connsiteY361" fmla="*/ 567286 h 929414"/>
                <a:gd name="connsiteX362" fmla="*/ 289400 w 1020636"/>
                <a:gd name="connsiteY362" fmla="*/ 569289 h 929414"/>
                <a:gd name="connsiteX363" fmla="*/ 291468 w 1020636"/>
                <a:gd name="connsiteY363" fmla="*/ 575734 h 929414"/>
                <a:gd name="connsiteX364" fmla="*/ 290499 w 1020636"/>
                <a:gd name="connsiteY364" fmla="*/ 578109 h 929414"/>
                <a:gd name="connsiteX365" fmla="*/ 272390 w 1020636"/>
                <a:gd name="connsiteY365" fmla="*/ 597090 h 929414"/>
                <a:gd name="connsiteX366" fmla="*/ 259951 w 1020636"/>
                <a:gd name="connsiteY366" fmla="*/ 597510 h 929414"/>
                <a:gd name="connsiteX367" fmla="*/ 253069 w 1020636"/>
                <a:gd name="connsiteY367" fmla="*/ 597171 h 929414"/>
                <a:gd name="connsiteX368" fmla="*/ 233232 w 1020636"/>
                <a:gd name="connsiteY368" fmla="*/ 614569 h 929414"/>
                <a:gd name="connsiteX369" fmla="*/ 230987 w 1020636"/>
                <a:gd name="connsiteY369" fmla="*/ 616879 h 929414"/>
                <a:gd name="connsiteX370" fmla="*/ 227998 w 1020636"/>
                <a:gd name="connsiteY370" fmla="*/ 615684 h 929414"/>
                <a:gd name="connsiteX371" fmla="*/ 219323 w 1020636"/>
                <a:gd name="connsiteY371" fmla="*/ 606040 h 929414"/>
                <a:gd name="connsiteX372" fmla="*/ 209356 w 1020636"/>
                <a:gd name="connsiteY372" fmla="*/ 605829 h 929414"/>
                <a:gd name="connsiteX373" fmla="*/ 213492 w 1020636"/>
                <a:gd name="connsiteY373" fmla="*/ 625021 h 929414"/>
                <a:gd name="connsiteX374" fmla="*/ 221520 w 1020636"/>
                <a:gd name="connsiteY374" fmla="*/ 632791 h 929414"/>
                <a:gd name="connsiteX375" fmla="*/ 229500 w 1020636"/>
                <a:gd name="connsiteY375" fmla="*/ 640335 h 929414"/>
                <a:gd name="connsiteX376" fmla="*/ 247367 w 1020636"/>
                <a:gd name="connsiteY376" fmla="*/ 635650 h 929414"/>
                <a:gd name="connsiteX377" fmla="*/ 250275 w 1020636"/>
                <a:gd name="connsiteY377" fmla="*/ 631709 h 929414"/>
                <a:gd name="connsiteX378" fmla="*/ 257350 w 1020636"/>
                <a:gd name="connsiteY378" fmla="*/ 624358 h 929414"/>
                <a:gd name="connsiteX379" fmla="*/ 267964 w 1020636"/>
                <a:gd name="connsiteY379" fmla="*/ 624827 h 929414"/>
                <a:gd name="connsiteX380" fmla="*/ 276186 w 1020636"/>
                <a:gd name="connsiteY380" fmla="*/ 636765 h 929414"/>
                <a:gd name="connsiteX381" fmla="*/ 269030 w 1020636"/>
                <a:gd name="connsiteY381" fmla="*/ 658008 h 929414"/>
                <a:gd name="connsiteX382" fmla="*/ 263004 w 1020636"/>
                <a:gd name="connsiteY382" fmla="*/ 666860 h 929414"/>
                <a:gd name="connsiteX383" fmla="*/ 248013 w 1020636"/>
                <a:gd name="connsiteY383" fmla="*/ 691544 h 929414"/>
                <a:gd name="connsiteX384" fmla="*/ 244201 w 1020636"/>
                <a:gd name="connsiteY384" fmla="*/ 725241 h 929414"/>
                <a:gd name="connsiteX385" fmla="*/ 270532 w 1020636"/>
                <a:gd name="connsiteY385" fmla="*/ 705000 h 929414"/>
                <a:gd name="connsiteX386" fmla="*/ 270887 w 1020636"/>
                <a:gd name="connsiteY386" fmla="*/ 704596 h 929414"/>
                <a:gd name="connsiteX387" fmla="*/ 277769 w 1020636"/>
                <a:gd name="connsiteY387" fmla="*/ 698942 h 929414"/>
                <a:gd name="connsiteX388" fmla="*/ 284796 w 1020636"/>
                <a:gd name="connsiteY388" fmla="*/ 699136 h 929414"/>
                <a:gd name="connsiteX389" fmla="*/ 288447 w 1020636"/>
                <a:gd name="connsiteY389" fmla="*/ 703142 h 929414"/>
                <a:gd name="connsiteX390" fmla="*/ 288027 w 1020636"/>
                <a:gd name="connsiteY390" fmla="*/ 709362 h 929414"/>
                <a:gd name="connsiteX391" fmla="*/ 276687 w 1020636"/>
                <a:gd name="connsiteY391" fmla="*/ 746000 h 929414"/>
                <a:gd name="connsiteX392" fmla="*/ 271663 w 1020636"/>
                <a:gd name="connsiteY392" fmla="*/ 754997 h 929414"/>
                <a:gd name="connsiteX393" fmla="*/ 261680 w 1020636"/>
                <a:gd name="connsiteY393" fmla="*/ 758196 h 929414"/>
                <a:gd name="connsiteX394" fmla="*/ 232441 w 1020636"/>
                <a:gd name="connsiteY394" fmla="*/ 761055 h 929414"/>
                <a:gd name="connsiteX395" fmla="*/ 203815 w 1020636"/>
                <a:gd name="connsiteY395" fmla="*/ 770522 h 929414"/>
                <a:gd name="connsiteX396" fmla="*/ 200019 w 1020636"/>
                <a:gd name="connsiteY396" fmla="*/ 785755 h 929414"/>
                <a:gd name="connsiteX397" fmla="*/ 206141 w 1020636"/>
                <a:gd name="connsiteY397" fmla="*/ 792621 h 929414"/>
                <a:gd name="connsiteX398" fmla="*/ 218758 w 1020636"/>
                <a:gd name="connsiteY398" fmla="*/ 790601 h 929414"/>
                <a:gd name="connsiteX399" fmla="*/ 233620 w 1020636"/>
                <a:gd name="connsiteY399" fmla="*/ 785141 h 929414"/>
                <a:gd name="connsiteX400" fmla="*/ 252924 w 1020636"/>
                <a:gd name="connsiteY400" fmla="*/ 786434 h 929414"/>
                <a:gd name="connsiteX401" fmla="*/ 256769 w 1020636"/>
                <a:gd name="connsiteY401" fmla="*/ 799018 h 929414"/>
                <a:gd name="connsiteX402" fmla="*/ 259660 w 1020636"/>
                <a:gd name="connsiteY402" fmla="*/ 807515 h 929414"/>
                <a:gd name="connsiteX403" fmla="*/ 268610 w 1020636"/>
                <a:gd name="connsiteY403" fmla="*/ 802345 h 929414"/>
                <a:gd name="connsiteX404" fmla="*/ 283682 w 1020636"/>
                <a:gd name="connsiteY404" fmla="*/ 795512 h 929414"/>
                <a:gd name="connsiteX405" fmla="*/ 290725 w 1020636"/>
                <a:gd name="connsiteY405" fmla="*/ 811085 h 929414"/>
                <a:gd name="connsiteX406" fmla="*/ 290450 w 1020636"/>
                <a:gd name="connsiteY406" fmla="*/ 813136 h 929414"/>
                <a:gd name="connsiteX407" fmla="*/ 291145 w 1020636"/>
                <a:gd name="connsiteY407" fmla="*/ 823346 h 929414"/>
                <a:gd name="connsiteX408" fmla="*/ 308446 w 1020636"/>
                <a:gd name="connsiteY408" fmla="*/ 822974 h 929414"/>
                <a:gd name="connsiteX409" fmla="*/ 333130 w 1020636"/>
                <a:gd name="connsiteY409" fmla="*/ 822797 h 929414"/>
                <a:gd name="connsiteX410" fmla="*/ 335472 w 1020636"/>
                <a:gd name="connsiteY410" fmla="*/ 834185 h 929414"/>
                <a:gd name="connsiteX411" fmla="*/ 322904 w 1020636"/>
                <a:gd name="connsiteY411" fmla="*/ 846608 h 929414"/>
                <a:gd name="connsiteX412" fmla="*/ 304004 w 1020636"/>
                <a:gd name="connsiteY412" fmla="*/ 846366 h 929414"/>
                <a:gd name="connsiteX413" fmla="*/ 296896 w 1020636"/>
                <a:gd name="connsiteY413" fmla="*/ 845412 h 929414"/>
                <a:gd name="connsiteX414" fmla="*/ 278738 w 1020636"/>
                <a:gd name="connsiteY414" fmla="*/ 853264 h 929414"/>
                <a:gd name="connsiteX415" fmla="*/ 283165 w 1020636"/>
                <a:gd name="connsiteY415" fmla="*/ 865605 h 929414"/>
                <a:gd name="connsiteX416" fmla="*/ 297768 w 1020636"/>
                <a:gd name="connsiteY416" fmla="*/ 870742 h 929414"/>
                <a:gd name="connsiteX417" fmla="*/ 300401 w 1020636"/>
                <a:gd name="connsiteY417" fmla="*/ 870969 h 929414"/>
                <a:gd name="connsiteX418" fmla="*/ 315295 w 1020636"/>
                <a:gd name="connsiteY418" fmla="*/ 875088 h 929414"/>
                <a:gd name="connsiteX419" fmla="*/ 320610 w 1020636"/>
                <a:gd name="connsiteY419" fmla="*/ 880516 h 929414"/>
                <a:gd name="connsiteX420" fmla="*/ 327766 w 1020636"/>
                <a:gd name="connsiteY420" fmla="*/ 885830 h 929414"/>
                <a:gd name="connsiteX421" fmla="*/ 332193 w 1020636"/>
                <a:gd name="connsiteY421" fmla="*/ 884053 h 929414"/>
                <a:gd name="connsiteX422" fmla="*/ 334341 w 1020636"/>
                <a:gd name="connsiteY422" fmla="*/ 882906 h 929414"/>
                <a:gd name="connsiteX423" fmla="*/ 367070 w 1020636"/>
                <a:gd name="connsiteY423" fmla="*/ 886428 h 929414"/>
                <a:gd name="connsiteX424" fmla="*/ 367780 w 1020636"/>
                <a:gd name="connsiteY424" fmla="*/ 886703 h 929414"/>
                <a:gd name="connsiteX425" fmla="*/ 395323 w 1020636"/>
                <a:gd name="connsiteY425" fmla="*/ 886654 h 929414"/>
                <a:gd name="connsiteX426" fmla="*/ 398603 w 1020636"/>
                <a:gd name="connsiteY426" fmla="*/ 882793 h 929414"/>
                <a:gd name="connsiteX427" fmla="*/ 406082 w 1020636"/>
                <a:gd name="connsiteY427" fmla="*/ 875799 h 929414"/>
                <a:gd name="connsiteX428" fmla="*/ 412495 w 1020636"/>
                <a:gd name="connsiteY428" fmla="*/ 874232 h 929414"/>
                <a:gd name="connsiteX429" fmla="*/ 415387 w 1020636"/>
                <a:gd name="connsiteY429" fmla="*/ 873763 h 929414"/>
                <a:gd name="connsiteX430" fmla="*/ 430766 w 1020636"/>
                <a:gd name="connsiteY430" fmla="*/ 861938 h 929414"/>
                <a:gd name="connsiteX431" fmla="*/ 433205 w 1020636"/>
                <a:gd name="connsiteY431" fmla="*/ 859224 h 929414"/>
                <a:gd name="connsiteX432" fmla="*/ 456208 w 1020636"/>
                <a:gd name="connsiteY432" fmla="*/ 848659 h 929414"/>
                <a:gd name="connsiteX433" fmla="*/ 459181 w 1020636"/>
                <a:gd name="connsiteY433" fmla="*/ 823620 h 929414"/>
                <a:gd name="connsiteX434" fmla="*/ 459149 w 1020636"/>
                <a:gd name="connsiteY434" fmla="*/ 823588 h 929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</a:cxnLst>
              <a:rect l="l" t="t" r="r" b="b"/>
              <a:pathLst>
                <a:path w="1020636" h="929414">
                  <a:moveTo>
                    <a:pt x="459149" y="823588"/>
                  </a:moveTo>
                  <a:lnTo>
                    <a:pt x="459019" y="822619"/>
                  </a:lnTo>
                  <a:cubicBezTo>
                    <a:pt x="457743" y="813088"/>
                    <a:pt x="457210" y="802135"/>
                    <a:pt x="462864" y="793186"/>
                  </a:cubicBezTo>
                  <a:cubicBezTo>
                    <a:pt x="466208" y="787887"/>
                    <a:pt x="472234" y="784140"/>
                    <a:pt x="478582" y="783413"/>
                  </a:cubicBezTo>
                  <a:cubicBezTo>
                    <a:pt x="483638" y="782831"/>
                    <a:pt x="488210" y="784285"/>
                    <a:pt x="491489" y="787516"/>
                  </a:cubicBezTo>
                  <a:cubicBezTo>
                    <a:pt x="491845" y="787871"/>
                    <a:pt x="492184" y="788243"/>
                    <a:pt x="492539" y="788614"/>
                  </a:cubicBezTo>
                  <a:cubicBezTo>
                    <a:pt x="493250" y="789390"/>
                    <a:pt x="493912" y="790117"/>
                    <a:pt x="494510" y="790327"/>
                  </a:cubicBezTo>
                  <a:cubicBezTo>
                    <a:pt x="495641" y="790714"/>
                    <a:pt x="496578" y="789745"/>
                    <a:pt x="499049" y="785561"/>
                  </a:cubicBezTo>
                  <a:cubicBezTo>
                    <a:pt x="500277" y="783493"/>
                    <a:pt x="501537" y="781361"/>
                    <a:pt x="503217" y="779697"/>
                  </a:cubicBezTo>
                  <a:cubicBezTo>
                    <a:pt x="507417" y="775562"/>
                    <a:pt x="515462" y="773106"/>
                    <a:pt x="530049" y="784915"/>
                  </a:cubicBezTo>
                  <a:cubicBezTo>
                    <a:pt x="549709" y="800843"/>
                    <a:pt x="573213" y="811973"/>
                    <a:pt x="597994" y="817110"/>
                  </a:cubicBezTo>
                  <a:cubicBezTo>
                    <a:pt x="603260" y="818193"/>
                    <a:pt x="609577" y="819501"/>
                    <a:pt x="613179" y="824444"/>
                  </a:cubicBezTo>
                  <a:cubicBezTo>
                    <a:pt x="615101" y="827077"/>
                    <a:pt x="615812" y="830179"/>
                    <a:pt x="616426" y="832909"/>
                  </a:cubicBezTo>
                  <a:cubicBezTo>
                    <a:pt x="616636" y="833862"/>
                    <a:pt x="616862" y="834815"/>
                    <a:pt x="617121" y="835736"/>
                  </a:cubicBezTo>
                  <a:cubicBezTo>
                    <a:pt x="621918" y="852246"/>
                    <a:pt x="642693" y="857932"/>
                    <a:pt x="660252" y="861050"/>
                  </a:cubicBezTo>
                  <a:cubicBezTo>
                    <a:pt x="664178" y="861745"/>
                    <a:pt x="668636" y="862536"/>
                    <a:pt x="672416" y="861389"/>
                  </a:cubicBezTo>
                  <a:cubicBezTo>
                    <a:pt x="676100" y="860291"/>
                    <a:pt x="679120" y="857464"/>
                    <a:pt x="682319" y="854475"/>
                  </a:cubicBezTo>
                  <a:cubicBezTo>
                    <a:pt x="683514" y="853360"/>
                    <a:pt x="684710" y="852246"/>
                    <a:pt x="685938" y="851212"/>
                  </a:cubicBezTo>
                  <a:cubicBezTo>
                    <a:pt x="703917" y="836108"/>
                    <a:pt x="729021" y="837449"/>
                    <a:pt x="753284" y="840243"/>
                  </a:cubicBezTo>
                  <a:lnTo>
                    <a:pt x="753301" y="840243"/>
                  </a:lnTo>
                  <a:cubicBezTo>
                    <a:pt x="753317" y="840114"/>
                    <a:pt x="753284" y="839258"/>
                    <a:pt x="753268" y="838757"/>
                  </a:cubicBezTo>
                  <a:cubicBezTo>
                    <a:pt x="753204" y="837077"/>
                    <a:pt x="753058" y="833927"/>
                    <a:pt x="756144" y="832489"/>
                  </a:cubicBezTo>
                  <a:cubicBezTo>
                    <a:pt x="759940" y="830728"/>
                    <a:pt x="764075" y="831100"/>
                    <a:pt x="767403" y="831407"/>
                  </a:cubicBezTo>
                  <a:lnTo>
                    <a:pt x="833280" y="837400"/>
                  </a:lnTo>
                  <a:cubicBezTo>
                    <a:pt x="851987" y="839096"/>
                    <a:pt x="877704" y="843716"/>
                    <a:pt x="884941" y="864038"/>
                  </a:cubicBezTo>
                  <a:cubicBezTo>
                    <a:pt x="887284" y="870613"/>
                    <a:pt x="887074" y="877527"/>
                    <a:pt x="886864" y="884199"/>
                  </a:cubicBezTo>
                  <a:cubicBezTo>
                    <a:pt x="886670" y="890596"/>
                    <a:pt x="886476" y="896638"/>
                    <a:pt x="888414" y="902162"/>
                  </a:cubicBezTo>
                  <a:cubicBezTo>
                    <a:pt x="890579" y="908317"/>
                    <a:pt x="896104" y="913357"/>
                    <a:pt x="903195" y="915635"/>
                  </a:cubicBezTo>
                  <a:cubicBezTo>
                    <a:pt x="910287" y="917913"/>
                    <a:pt x="917702" y="917057"/>
                    <a:pt x="923065" y="913325"/>
                  </a:cubicBezTo>
                  <a:cubicBezTo>
                    <a:pt x="923647" y="912921"/>
                    <a:pt x="924228" y="912469"/>
                    <a:pt x="924810" y="912033"/>
                  </a:cubicBezTo>
                  <a:cubicBezTo>
                    <a:pt x="926603" y="910659"/>
                    <a:pt x="928638" y="909125"/>
                    <a:pt x="931142" y="908317"/>
                  </a:cubicBezTo>
                  <a:cubicBezTo>
                    <a:pt x="939962" y="905539"/>
                    <a:pt x="946036" y="912662"/>
                    <a:pt x="951383" y="918963"/>
                  </a:cubicBezTo>
                  <a:cubicBezTo>
                    <a:pt x="955551" y="923857"/>
                    <a:pt x="959864" y="928930"/>
                    <a:pt x="965050" y="929382"/>
                  </a:cubicBezTo>
                  <a:cubicBezTo>
                    <a:pt x="971269" y="929915"/>
                    <a:pt x="976164" y="923841"/>
                    <a:pt x="980913" y="917961"/>
                  </a:cubicBezTo>
                  <a:cubicBezTo>
                    <a:pt x="981705" y="916976"/>
                    <a:pt x="982496" y="916006"/>
                    <a:pt x="983272" y="915070"/>
                  </a:cubicBezTo>
                  <a:cubicBezTo>
                    <a:pt x="992674" y="903875"/>
                    <a:pt x="1006162" y="896589"/>
                    <a:pt x="1020636" y="894764"/>
                  </a:cubicBezTo>
                  <a:cubicBezTo>
                    <a:pt x="1020636" y="894715"/>
                    <a:pt x="1020588" y="894667"/>
                    <a:pt x="1020588" y="894602"/>
                  </a:cubicBezTo>
                  <a:cubicBezTo>
                    <a:pt x="1019619" y="887850"/>
                    <a:pt x="1015499" y="884425"/>
                    <a:pt x="1010282" y="880079"/>
                  </a:cubicBezTo>
                  <a:cubicBezTo>
                    <a:pt x="1007552" y="877802"/>
                    <a:pt x="1004708" y="875443"/>
                    <a:pt x="1002027" y="872358"/>
                  </a:cubicBezTo>
                  <a:cubicBezTo>
                    <a:pt x="993497" y="862568"/>
                    <a:pt x="986939" y="848110"/>
                    <a:pt x="994095" y="836835"/>
                  </a:cubicBezTo>
                  <a:cubicBezTo>
                    <a:pt x="994483" y="836205"/>
                    <a:pt x="994935" y="835591"/>
                    <a:pt x="995371" y="834977"/>
                  </a:cubicBezTo>
                  <a:cubicBezTo>
                    <a:pt x="996518" y="833361"/>
                    <a:pt x="997601" y="831843"/>
                    <a:pt x="997487" y="830567"/>
                  </a:cubicBezTo>
                  <a:cubicBezTo>
                    <a:pt x="997310" y="828822"/>
                    <a:pt x="995371" y="827982"/>
                    <a:pt x="991284" y="826625"/>
                  </a:cubicBezTo>
                  <a:cubicBezTo>
                    <a:pt x="989217" y="825947"/>
                    <a:pt x="987084" y="825236"/>
                    <a:pt x="985210" y="824105"/>
                  </a:cubicBezTo>
                  <a:cubicBezTo>
                    <a:pt x="976051" y="818613"/>
                    <a:pt x="977699" y="806723"/>
                    <a:pt x="979023" y="797176"/>
                  </a:cubicBezTo>
                  <a:cubicBezTo>
                    <a:pt x="979169" y="796094"/>
                    <a:pt x="979314" y="795028"/>
                    <a:pt x="979459" y="793994"/>
                  </a:cubicBezTo>
                  <a:cubicBezTo>
                    <a:pt x="981107" y="780925"/>
                    <a:pt x="976439" y="767145"/>
                    <a:pt x="966665" y="756160"/>
                  </a:cubicBezTo>
                  <a:cubicBezTo>
                    <a:pt x="956892" y="745192"/>
                    <a:pt x="943694" y="738940"/>
                    <a:pt x="930577" y="739086"/>
                  </a:cubicBezTo>
                  <a:cubicBezTo>
                    <a:pt x="927039" y="739102"/>
                    <a:pt x="921950" y="739134"/>
                    <a:pt x="918865" y="736032"/>
                  </a:cubicBezTo>
                  <a:cubicBezTo>
                    <a:pt x="913146" y="747227"/>
                    <a:pt x="907476" y="756015"/>
                    <a:pt x="901532" y="765207"/>
                  </a:cubicBezTo>
                  <a:cubicBezTo>
                    <a:pt x="897929" y="770780"/>
                    <a:pt x="894214" y="776531"/>
                    <a:pt x="890191" y="783251"/>
                  </a:cubicBezTo>
                  <a:cubicBezTo>
                    <a:pt x="888188" y="786595"/>
                    <a:pt x="885684" y="790763"/>
                    <a:pt x="881759" y="793557"/>
                  </a:cubicBezTo>
                  <a:cubicBezTo>
                    <a:pt x="878657" y="795771"/>
                    <a:pt x="875071" y="796885"/>
                    <a:pt x="871242" y="796885"/>
                  </a:cubicBezTo>
                  <a:cubicBezTo>
                    <a:pt x="869740" y="796885"/>
                    <a:pt x="868205" y="796708"/>
                    <a:pt x="866638" y="796368"/>
                  </a:cubicBezTo>
                  <a:cubicBezTo>
                    <a:pt x="858174" y="794495"/>
                    <a:pt x="849483" y="787645"/>
                    <a:pt x="844491" y="778922"/>
                  </a:cubicBezTo>
                  <a:cubicBezTo>
                    <a:pt x="842197" y="774916"/>
                    <a:pt x="840323" y="770635"/>
                    <a:pt x="838514" y="766483"/>
                  </a:cubicBezTo>
                  <a:cubicBezTo>
                    <a:pt x="834879" y="758196"/>
                    <a:pt x="831455" y="750361"/>
                    <a:pt x="825106" y="744917"/>
                  </a:cubicBezTo>
                  <a:cubicBezTo>
                    <a:pt x="823604" y="743641"/>
                    <a:pt x="820712" y="741573"/>
                    <a:pt x="818095" y="742139"/>
                  </a:cubicBezTo>
                  <a:cubicBezTo>
                    <a:pt x="813103" y="743221"/>
                    <a:pt x="813281" y="751621"/>
                    <a:pt x="813830" y="759407"/>
                  </a:cubicBezTo>
                  <a:cubicBezTo>
                    <a:pt x="814687" y="771604"/>
                    <a:pt x="810486" y="782266"/>
                    <a:pt x="802571" y="787952"/>
                  </a:cubicBezTo>
                  <a:cubicBezTo>
                    <a:pt x="797579" y="791538"/>
                    <a:pt x="790633" y="792588"/>
                    <a:pt x="784430" y="790682"/>
                  </a:cubicBezTo>
                  <a:cubicBezTo>
                    <a:pt x="779163" y="789067"/>
                    <a:pt x="775319" y="785626"/>
                    <a:pt x="773606" y="780990"/>
                  </a:cubicBezTo>
                  <a:cubicBezTo>
                    <a:pt x="772686" y="778486"/>
                    <a:pt x="772459" y="775949"/>
                    <a:pt x="772233" y="773510"/>
                  </a:cubicBezTo>
                  <a:cubicBezTo>
                    <a:pt x="772056" y="771604"/>
                    <a:pt x="771910" y="769811"/>
                    <a:pt x="771426" y="768179"/>
                  </a:cubicBezTo>
                  <a:cubicBezTo>
                    <a:pt x="769842" y="762832"/>
                    <a:pt x="764705" y="758987"/>
                    <a:pt x="759746" y="755256"/>
                  </a:cubicBezTo>
                  <a:lnTo>
                    <a:pt x="758034" y="753963"/>
                  </a:lnTo>
                  <a:cubicBezTo>
                    <a:pt x="735886" y="737115"/>
                    <a:pt x="720184" y="711785"/>
                    <a:pt x="714950" y="684452"/>
                  </a:cubicBezTo>
                  <a:cubicBezTo>
                    <a:pt x="714692" y="683127"/>
                    <a:pt x="714466" y="681803"/>
                    <a:pt x="714240" y="680478"/>
                  </a:cubicBezTo>
                  <a:cubicBezTo>
                    <a:pt x="713303" y="675099"/>
                    <a:pt x="712414" y="670010"/>
                    <a:pt x="710120" y="665503"/>
                  </a:cubicBezTo>
                  <a:cubicBezTo>
                    <a:pt x="708376" y="662111"/>
                    <a:pt x="705888" y="659155"/>
                    <a:pt x="703239" y="656004"/>
                  </a:cubicBezTo>
                  <a:cubicBezTo>
                    <a:pt x="701591" y="654050"/>
                    <a:pt x="699895" y="652047"/>
                    <a:pt x="698360" y="649882"/>
                  </a:cubicBezTo>
                  <a:cubicBezTo>
                    <a:pt x="687924" y="635198"/>
                    <a:pt x="687052" y="616895"/>
                    <a:pt x="686180" y="599190"/>
                  </a:cubicBezTo>
                  <a:cubicBezTo>
                    <a:pt x="685421" y="583456"/>
                    <a:pt x="684629" y="567189"/>
                    <a:pt x="676956" y="554071"/>
                  </a:cubicBezTo>
                  <a:cubicBezTo>
                    <a:pt x="675550" y="551681"/>
                    <a:pt x="673951" y="549419"/>
                    <a:pt x="672255" y="547028"/>
                  </a:cubicBezTo>
                  <a:cubicBezTo>
                    <a:pt x="669299" y="542877"/>
                    <a:pt x="666262" y="538580"/>
                    <a:pt x="664404" y="533572"/>
                  </a:cubicBezTo>
                  <a:cubicBezTo>
                    <a:pt x="661319" y="525268"/>
                    <a:pt x="661835" y="516109"/>
                    <a:pt x="662320" y="507256"/>
                  </a:cubicBezTo>
                  <a:cubicBezTo>
                    <a:pt x="662934" y="496029"/>
                    <a:pt x="663515" y="485416"/>
                    <a:pt x="656618" y="478292"/>
                  </a:cubicBezTo>
                  <a:cubicBezTo>
                    <a:pt x="653322" y="474883"/>
                    <a:pt x="648734" y="472880"/>
                    <a:pt x="643904" y="470780"/>
                  </a:cubicBezTo>
                  <a:cubicBezTo>
                    <a:pt x="638363" y="468373"/>
                    <a:pt x="632645" y="465869"/>
                    <a:pt x="628509" y="461007"/>
                  </a:cubicBezTo>
                  <a:cubicBezTo>
                    <a:pt x="616749" y="447211"/>
                    <a:pt x="626829" y="426905"/>
                    <a:pt x="630205" y="421009"/>
                  </a:cubicBezTo>
                  <a:cubicBezTo>
                    <a:pt x="631530" y="418683"/>
                    <a:pt x="632968" y="416357"/>
                    <a:pt x="634406" y="414031"/>
                  </a:cubicBezTo>
                  <a:cubicBezTo>
                    <a:pt x="639947" y="405033"/>
                    <a:pt x="645180" y="396552"/>
                    <a:pt x="645342" y="386940"/>
                  </a:cubicBezTo>
                  <a:cubicBezTo>
                    <a:pt x="645407" y="382805"/>
                    <a:pt x="644502" y="378685"/>
                    <a:pt x="643549" y="374324"/>
                  </a:cubicBezTo>
                  <a:cubicBezTo>
                    <a:pt x="642370" y="368960"/>
                    <a:pt x="641142" y="363403"/>
                    <a:pt x="641804" y="357651"/>
                  </a:cubicBezTo>
                  <a:cubicBezTo>
                    <a:pt x="642450" y="351948"/>
                    <a:pt x="644857" y="346860"/>
                    <a:pt x="647184" y="341917"/>
                  </a:cubicBezTo>
                  <a:cubicBezTo>
                    <a:pt x="647604" y="341044"/>
                    <a:pt x="648007" y="340156"/>
                    <a:pt x="648411" y="339283"/>
                  </a:cubicBezTo>
                  <a:cubicBezTo>
                    <a:pt x="658427" y="317394"/>
                    <a:pt x="661835" y="292259"/>
                    <a:pt x="658007" y="268512"/>
                  </a:cubicBezTo>
                  <a:cubicBezTo>
                    <a:pt x="657748" y="266896"/>
                    <a:pt x="657458" y="265249"/>
                    <a:pt x="657151" y="263617"/>
                  </a:cubicBezTo>
                  <a:cubicBezTo>
                    <a:pt x="655535" y="254635"/>
                    <a:pt x="653871" y="245347"/>
                    <a:pt x="656908" y="236397"/>
                  </a:cubicBezTo>
                  <a:cubicBezTo>
                    <a:pt x="662110" y="221067"/>
                    <a:pt x="679524" y="213571"/>
                    <a:pt x="694031" y="214121"/>
                  </a:cubicBezTo>
                  <a:cubicBezTo>
                    <a:pt x="709313" y="214686"/>
                    <a:pt x="723270" y="222020"/>
                    <a:pt x="735143" y="228837"/>
                  </a:cubicBezTo>
                  <a:lnTo>
                    <a:pt x="735983" y="229322"/>
                  </a:lnTo>
                  <a:cubicBezTo>
                    <a:pt x="741993" y="232779"/>
                    <a:pt x="748212" y="236365"/>
                    <a:pt x="754819" y="237302"/>
                  </a:cubicBezTo>
                  <a:cubicBezTo>
                    <a:pt x="759455" y="237948"/>
                    <a:pt x="764188" y="237334"/>
                    <a:pt x="769196" y="236672"/>
                  </a:cubicBezTo>
                  <a:cubicBezTo>
                    <a:pt x="770828" y="236462"/>
                    <a:pt x="772476" y="236236"/>
                    <a:pt x="774107" y="236074"/>
                  </a:cubicBezTo>
                  <a:cubicBezTo>
                    <a:pt x="797030" y="233683"/>
                    <a:pt x="820890" y="240630"/>
                    <a:pt x="839112" y="254748"/>
                  </a:cubicBezTo>
                  <a:cubicBezTo>
                    <a:pt x="838886" y="253036"/>
                    <a:pt x="838627" y="251324"/>
                    <a:pt x="838320" y="249611"/>
                  </a:cubicBezTo>
                  <a:cubicBezTo>
                    <a:pt x="833215" y="221713"/>
                    <a:pt x="817093" y="200196"/>
                    <a:pt x="800018" y="177418"/>
                  </a:cubicBezTo>
                  <a:cubicBezTo>
                    <a:pt x="798613" y="175544"/>
                    <a:pt x="797208" y="173671"/>
                    <a:pt x="795802" y="171781"/>
                  </a:cubicBezTo>
                  <a:cubicBezTo>
                    <a:pt x="788468" y="165803"/>
                    <a:pt x="782943" y="158502"/>
                    <a:pt x="777613" y="151458"/>
                  </a:cubicBezTo>
                  <a:cubicBezTo>
                    <a:pt x="770166" y="141604"/>
                    <a:pt x="763138" y="132300"/>
                    <a:pt x="751879" y="127324"/>
                  </a:cubicBezTo>
                  <a:cubicBezTo>
                    <a:pt x="743010" y="123415"/>
                    <a:pt x="733156" y="123706"/>
                    <a:pt x="722721" y="124013"/>
                  </a:cubicBezTo>
                  <a:cubicBezTo>
                    <a:pt x="716873" y="124190"/>
                    <a:pt x="710831" y="124368"/>
                    <a:pt x="704919" y="123754"/>
                  </a:cubicBezTo>
                  <a:cubicBezTo>
                    <a:pt x="702172" y="123463"/>
                    <a:pt x="699313" y="123027"/>
                    <a:pt x="696567" y="122607"/>
                  </a:cubicBezTo>
                  <a:cubicBezTo>
                    <a:pt x="685921" y="120959"/>
                    <a:pt x="675890" y="119408"/>
                    <a:pt x="668943" y="125369"/>
                  </a:cubicBezTo>
                  <a:cubicBezTo>
                    <a:pt x="668232" y="125967"/>
                    <a:pt x="667586" y="126646"/>
                    <a:pt x="666940" y="127308"/>
                  </a:cubicBezTo>
                  <a:cubicBezTo>
                    <a:pt x="665535" y="128730"/>
                    <a:pt x="663952" y="130361"/>
                    <a:pt x="661884" y="131460"/>
                  </a:cubicBezTo>
                  <a:cubicBezTo>
                    <a:pt x="658524" y="133253"/>
                    <a:pt x="654663" y="133253"/>
                    <a:pt x="651852" y="133253"/>
                  </a:cubicBezTo>
                  <a:cubicBezTo>
                    <a:pt x="615150" y="133350"/>
                    <a:pt x="578334" y="129586"/>
                    <a:pt x="542391" y="122203"/>
                  </a:cubicBezTo>
                  <a:cubicBezTo>
                    <a:pt x="537820" y="128293"/>
                    <a:pt x="532343" y="133026"/>
                    <a:pt x="524977" y="133560"/>
                  </a:cubicBezTo>
                  <a:cubicBezTo>
                    <a:pt x="520325" y="133899"/>
                    <a:pt x="516141" y="132397"/>
                    <a:pt x="512086" y="130926"/>
                  </a:cubicBezTo>
                  <a:cubicBezTo>
                    <a:pt x="510261" y="130264"/>
                    <a:pt x="508532" y="129650"/>
                    <a:pt x="506803" y="129198"/>
                  </a:cubicBezTo>
                  <a:cubicBezTo>
                    <a:pt x="502086" y="127986"/>
                    <a:pt x="496239" y="128988"/>
                    <a:pt x="495011" y="132720"/>
                  </a:cubicBezTo>
                  <a:cubicBezTo>
                    <a:pt x="494397" y="134577"/>
                    <a:pt x="494946" y="136871"/>
                    <a:pt x="495657" y="139456"/>
                  </a:cubicBezTo>
                  <a:cubicBezTo>
                    <a:pt x="500568" y="157290"/>
                    <a:pt x="495350" y="164317"/>
                    <a:pt x="490116" y="167080"/>
                  </a:cubicBezTo>
                  <a:cubicBezTo>
                    <a:pt x="483751" y="170424"/>
                    <a:pt x="476224" y="167532"/>
                    <a:pt x="471910" y="163429"/>
                  </a:cubicBezTo>
                  <a:cubicBezTo>
                    <a:pt x="467678" y="159390"/>
                    <a:pt x="465368" y="154140"/>
                    <a:pt x="463123" y="149052"/>
                  </a:cubicBezTo>
                  <a:lnTo>
                    <a:pt x="462961" y="148696"/>
                  </a:lnTo>
                  <a:cubicBezTo>
                    <a:pt x="461604" y="145611"/>
                    <a:pt x="460344" y="142428"/>
                    <a:pt x="459116" y="139343"/>
                  </a:cubicBezTo>
                  <a:cubicBezTo>
                    <a:pt x="454383" y="127405"/>
                    <a:pt x="449892" y="116065"/>
                    <a:pt x="439957" y="110330"/>
                  </a:cubicBezTo>
                  <a:cubicBezTo>
                    <a:pt x="439618" y="110669"/>
                    <a:pt x="439214" y="110944"/>
                    <a:pt x="438778" y="111154"/>
                  </a:cubicBezTo>
                  <a:cubicBezTo>
                    <a:pt x="436727" y="112091"/>
                    <a:pt x="434239" y="111477"/>
                    <a:pt x="432252" y="109571"/>
                  </a:cubicBezTo>
                  <a:cubicBezTo>
                    <a:pt x="426388" y="103949"/>
                    <a:pt x="428326" y="95823"/>
                    <a:pt x="430039" y="88651"/>
                  </a:cubicBezTo>
                  <a:cubicBezTo>
                    <a:pt x="430459" y="86890"/>
                    <a:pt x="430863" y="85226"/>
                    <a:pt x="431137" y="83643"/>
                  </a:cubicBezTo>
                  <a:cubicBezTo>
                    <a:pt x="432559" y="75582"/>
                    <a:pt x="430055" y="66794"/>
                    <a:pt x="424579" y="60704"/>
                  </a:cubicBezTo>
                  <a:cubicBezTo>
                    <a:pt x="419991" y="55599"/>
                    <a:pt x="411688" y="52369"/>
                    <a:pt x="406276" y="56084"/>
                  </a:cubicBezTo>
                  <a:cubicBezTo>
                    <a:pt x="405420" y="56682"/>
                    <a:pt x="404564" y="57457"/>
                    <a:pt x="403675" y="58297"/>
                  </a:cubicBezTo>
                  <a:cubicBezTo>
                    <a:pt x="401769" y="60090"/>
                    <a:pt x="399588" y="62110"/>
                    <a:pt x="396503" y="62772"/>
                  </a:cubicBezTo>
                  <a:cubicBezTo>
                    <a:pt x="387585" y="64646"/>
                    <a:pt x="382416" y="53903"/>
                    <a:pt x="380704" y="50382"/>
                  </a:cubicBezTo>
                  <a:cubicBezTo>
                    <a:pt x="378894" y="46634"/>
                    <a:pt x="376100" y="43597"/>
                    <a:pt x="373741" y="42821"/>
                  </a:cubicBezTo>
                  <a:cubicBezTo>
                    <a:pt x="372820" y="42531"/>
                    <a:pt x="372029" y="42579"/>
                    <a:pt x="371221" y="42999"/>
                  </a:cubicBezTo>
                  <a:cubicBezTo>
                    <a:pt x="369541" y="43888"/>
                    <a:pt x="368895" y="46052"/>
                    <a:pt x="368039" y="49509"/>
                  </a:cubicBezTo>
                  <a:cubicBezTo>
                    <a:pt x="367150" y="53047"/>
                    <a:pt x="366149" y="57069"/>
                    <a:pt x="362660" y="59476"/>
                  </a:cubicBezTo>
                  <a:cubicBezTo>
                    <a:pt x="359542" y="61625"/>
                    <a:pt x="355988" y="61399"/>
                    <a:pt x="352854" y="61205"/>
                  </a:cubicBezTo>
                  <a:cubicBezTo>
                    <a:pt x="350915" y="61076"/>
                    <a:pt x="349074" y="60979"/>
                    <a:pt x="347571" y="61415"/>
                  </a:cubicBezTo>
                  <a:cubicBezTo>
                    <a:pt x="345132" y="62126"/>
                    <a:pt x="343339" y="64290"/>
                    <a:pt x="341239" y="66810"/>
                  </a:cubicBezTo>
                  <a:cubicBezTo>
                    <a:pt x="339817" y="68523"/>
                    <a:pt x="338347" y="70284"/>
                    <a:pt x="336506" y="71754"/>
                  </a:cubicBezTo>
                  <a:cubicBezTo>
                    <a:pt x="331708" y="75582"/>
                    <a:pt x="324810" y="76099"/>
                    <a:pt x="318494" y="73111"/>
                  </a:cubicBezTo>
                  <a:cubicBezTo>
                    <a:pt x="312178" y="70122"/>
                    <a:pt x="308204" y="64452"/>
                    <a:pt x="308139" y="58313"/>
                  </a:cubicBezTo>
                  <a:cubicBezTo>
                    <a:pt x="308107" y="55567"/>
                    <a:pt x="308721" y="52999"/>
                    <a:pt x="309318" y="50511"/>
                  </a:cubicBezTo>
                  <a:cubicBezTo>
                    <a:pt x="309884" y="48120"/>
                    <a:pt x="310417" y="45875"/>
                    <a:pt x="310320" y="43726"/>
                  </a:cubicBezTo>
                  <a:cubicBezTo>
                    <a:pt x="309948" y="36424"/>
                    <a:pt x="302259" y="31239"/>
                    <a:pt x="297703" y="28800"/>
                  </a:cubicBezTo>
                  <a:cubicBezTo>
                    <a:pt x="296169" y="27976"/>
                    <a:pt x="294602" y="27200"/>
                    <a:pt x="293019" y="26425"/>
                  </a:cubicBezTo>
                  <a:cubicBezTo>
                    <a:pt x="287349" y="23630"/>
                    <a:pt x="281485" y="20739"/>
                    <a:pt x="277220" y="15650"/>
                  </a:cubicBezTo>
                  <a:cubicBezTo>
                    <a:pt x="275572" y="13695"/>
                    <a:pt x="274183" y="11450"/>
                    <a:pt x="272842" y="9285"/>
                  </a:cubicBezTo>
                  <a:cubicBezTo>
                    <a:pt x="269967" y="4649"/>
                    <a:pt x="267495" y="659"/>
                    <a:pt x="263392" y="61"/>
                  </a:cubicBezTo>
                  <a:cubicBezTo>
                    <a:pt x="260904" y="-310"/>
                    <a:pt x="258933" y="1095"/>
                    <a:pt x="257980" y="1967"/>
                  </a:cubicBezTo>
                  <a:cubicBezTo>
                    <a:pt x="255799" y="3938"/>
                    <a:pt x="254475" y="7008"/>
                    <a:pt x="254588" y="9786"/>
                  </a:cubicBezTo>
                  <a:cubicBezTo>
                    <a:pt x="254798" y="14729"/>
                    <a:pt x="258158" y="19834"/>
                    <a:pt x="263812" y="23824"/>
                  </a:cubicBezTo>
                  <a:cubicBezTo>
                    <a:pt x="264652" y="24422"/>
                    <a:pt x="265540" y="24987"/>
                    <a:pt x="266413" y="25569"/>
                  </a:cubicBezTo>
                  <a:cubicBezTo>
                    <a:pt x="269692" y="27701"/>
                    <a:pt x="273101" y="29914"/>
                    <a:pt x="275346" y="33517"/>
                  </a:cubicBezTo>
                  <a:cubicBezTo>
                    <a:pt x="280580" y="41901"/>
                    <a:pt x="276412" y="50608"/>
                    <a:pt x="272390" y="59040"/>
                  </a:cubicBezTo>
                  <a:cubicBezTo>
                    <a:pt x="269547" y="64985"/>
                    <a:pt x="266607" y="71140"/>
                    <a:pt x="267237" y="76826"/>
                  </a:cubicBezTo>
                  <a:cubicBezTo>
                    <a:pt x="267624" y="80283"/>
                    <a:pt x="269304" y="83692"/>
                    <a:pt x="271081" y="87310"/>
                  </a:cubicBezTo>
                  <a:cubicBezTo>
                    <a:pt x="273844" y="92899"/>
                    <a:pt x="276687" y="98667"/>
                    <a:pt x="274797" y="105144"/>
                  </a:cubicBezTo>
                  <a:cubicBezTo>
                    <a:pt x="273553" y="109393"/>
                    <a:pt x="270015" y="112818"/>
                    <a:pt x="265347" y="114288"/>
                  </a:cubicBezTo>
                  <a:cubicBezTo>
                    <a:pt x="260662" y="115774"/>
                    <a:pt x="255816" y="114998"/>
                    <a:pt x="252359" y="112236"/>
                  </a:cubicBezTo>
                  <a:cubicBezTo>
                    <a:pt x="247141" y="108068"/>
                    <a:pt x="245994" y="101397"/>
                    <a:pt x="244992" y="95533"/>
                  </a:cubicBezTo>
                  <a:cubicBezTo>
                    <a:pt x="244685" y="93740"/>
                    <a:pt x="244395" y="92059"/>
                    <a:pt x="244007" y="90444"/>
                  </a:cubicBezTo>
                  <a:cubicBezTo>
                    <a:pt x="243070" y="86502"/>
                    <a:pt x="239920" y="82480"/>
                    <a:pt x="236851" y="81285"/>
                  </a:cubicBezTo>
                  <a:cubicBezTo>
                    <a:pt x="235429" y="80735"/>
                    <a:pt x="234201" y="80832"/>
                    <a:pt x="233070" y="81592"/>
                  </a:cubicBezTo>
                  <a:cubicBezTo>
                    <a:pt x="231810" y="82432"/>
                    <a:pt x="230857" y="84144"/>
                    <a:pt x="230211" y="86680"/>
                  </a:cubicBezTo>
                  <a:cubicBezTo>
                    <a:pt x="229113" y="91009"/>
                    <a:pt x="229161" y="95565"/>
                    <a:pt x="229193" y="100379"/>
                  </a:cubicBezTo>
                  <a:cubicBezTo>
                    <a:pt x="229210" y="102802"/>
                    <a:pt x="229226" y="105322"/>
                    <a:pt x="229097" y="107826"/>
                  </a:cubicBezTo>
                  <a:cubicBezTo>
                    <a:pt x="228547" y="117777"/>
                    <a:pt x="224945" y="125337"/>
                    <a:pt x="218919" y="129117"/>
                  </a:cubicBezTo>
                  <a:cubicBezTo>
                    <a:pt x="216787" y="130458"/>
                    <a:pt x="214719" y="130991"/>
                    <a:pt x="212765" y="130700"/>
                  </a:cubicBezTo>
                  <a:cubicBezTo>
                    <a:pt x="209275" y="130167"/>
                    <a:pt x="206610" y="127066"/>
                    <a:pt x="205624" y="122413"/>
                  </a:cubicBezTo>
                  <a:cubicBezTo>
                    <a:pt x="203912" y="114385"/>
                    <a:pt x="206028" y="106227"/>
                    <a:pt x="208064" y="98360"/>
                  </a:cubicBezTo>
                  <a:cubicBezTo>
                    <a:pt x="210438" y="89216"/>
                    <a:pt x="212684" y="80574"/>
                    <a:pt x="208484" y="73450"/>
                  </a:cubicBezTo>
                  <a:cubicBezTo>
                    <a:pt x="208193" y="72965"/>
                    <a:pt x="207886" y="72497"/>
                    <a:pt x="207579" y="72012"/>
                  </a:cubicBezTo>
                  <a:cubicBezTo>
                    <a:pt x="206497" y="70364"/>
                    <a:pt x="205269" y="68491"/>
                    <a:pt x="204898" y="66132"/>
                  </a:cubicBezTo>
                  <a:cubicBezTo>
                    <a:pt x="204009" y="60494"/>
                    <a:pt x="208048" y="56779"/>
                    <a:pt x="211602" y="53499"/>
                  </a:cubicBezTo>
                  <a:cubicBezTo>
                    <a:pt x="213249" y="51981"/>
                    <a:pt x="214800" y="50559"/>
                    <a:pt x="215834" y="49025"/>
                  </a:cubicBezTo>
                  <a:cubicBezTo>
                    <a:pt x="217869" y="46036"/>
                    <a:pt x="217482" y="42725"/>
                    <a:pt x="216803" y="40479"/>
                  </a:cubicBezTo>
                  <a:cubicBezTo>
                    <a:pt x="215462" y="36085"/>
                    <a:pt x="211925" y="32160"/>
                    <a:pt x="207773" y="30480"/>
                  </a:cubicBezTo>
                  <a:cubicBezTo>
                    <a:pt x="199470" y="27120"/>
                    <a:pt x="189713" y="29672"/>
                    <a:pt x="182136" y="32273"/>
                  </a:cubicBezTo>
                  <a:cubicBezTo>
                    <a:pt x="179584" y="33145"/>
                    <a:pt x="176062" y="34357"/>
                    <a:pt x="172654" y="33016"/>
                  </a:cubicBezTo>
                  <a:cubicBezTo>
                    <a:pt x="170457" y="32160"/>
                    <a:pt x="169003" y="30528"/>
                    <a:pt x="167727" y="29107"/>
                  </a:cubicBezTo>
                  <a:lnTo>
                    <a:pt x="167307" y="28638"/>
                  </a:lnTo>
                  <a:cubicBezTo>
                    <a:pt x="162638" y="23501"/>
                    <a:pt x="156823" y="20819"/>
                    <a:pt x="151799" y="21482"/>
                  </a:cubicBezTo>
                  <a:cubicBezTo>
                    <a:pt x="148988" y="21837"/>
                    <a:pt x="146145" y="23743"/>
                    <a:pt x="144562" y="26312"/>
                  </a:cubicBezTo>
                  <a:cubicBezTo>
                    <a:pt x="143867" y="27459"/>
                    <a:pt x="142817" y="29736"/>
                    <a:pt x="143673" y="32192"/>
                  </a:cubicBezTo>
                  <a:cubicBezTo>
                    <a:pt x="144497" y="34518"/>
                    <a:pt x="146613" y="36408"/>
                    <a:pt x="148859" y="38395"/>
                  </a:cubicBezTo>
                  <a:lnTo>
                    <a:pt x="149763" y="39203"/>
                  </a:lnTo>
                  <a:cubicBezTo>
                    <a:pt x="160167" y="48605"/>
                    <a:pt x="167711" y="61286"/>
                    <a:pt x="171006" y="74920"/>
                  </a:cubicBezTo>
                  <a:cubicBezTo>
                    <a:pt x="171232" y="75889"/>
                    <a:pt x="170958" y="76907"/>
                    <a:pt x="170279" y="77618"/>
                  </a:cubicBezTo>
                  <a:cubicBezTo>
                    <a:pt x="169584" y="78328"/>
                    <a:pt x="168583" y="78635"/>
                    <a:pt x="167614" y="78441"/>
                  </a:cubicBezTo>
                  <a:cubicBezTo>
                    <a:pt x="162994" y="77488"/>
                    <a:pt x="157776" y="76422"/>
                    <a:pt x="153188" y="77601"/>
                  </a:cubicBezTo>
                  <a:cubicBezTo>
                    <a:pt x="149392" y="78587"/>
                    <a:pt x="145547" y="81898"/>
                    <a:pt x="145725" y="85743"/>
                  </a:cubicBezTo>
                  <a:cubicBezTo>
                    <a:pt x="145886" y="89669"/>
                    <a:pt x="149860" y="92899"/>
                    <a:pt x="154125" y="95791"/>
                  </a:cubicBezTo>
                  <a:lnTo>
                    <a:pt x="180214" y="113561"/>
                  </a:lnTo>
                  <a:cubicBezTo>
                    <a:pt x="184107" y="116210"/>
                    <a:pt x="185723" y="119102"/>
                    <a:pt x="184996" y="122155"/>
                  </a:cubicBezTo>
                  <a:cubicBezTo>
                    <a:pt x="184333" y="124949"/>
                    <a:pt x="182039" y="126274"/>
                    <a:pt x="180359" y="127260"/>
                  </a:cubicBezTo>
                  <a:cubicBezTo>
                    <a:pt x="179762" y="127615"/>
                    <a:pt x="179196" y="127938"/>
                    <a:pt x="178792" y="128261"/>
                  </a:cubicBezTo>
                  <a:cubicBezTo>
                    <a:pt x="176822" y="129860"/>
                    <a:pt x="176822" y="133317"/>
                    <a:pt x="176838" y="136952"/>
                  </a:cubicBezTo>
                  <a:cubicBezTo>
                    <a:pt x="176838" y="141637"/>
                    <a:pt x="176838" y="146951"/>
                    <a:pt x="172525" y="150231"/>
                  </a:cubicBezTo>
                  <a:cubicBezTo>
                    <a:pt x="169181" y="152767"/>
                    <a:pt x="165158" y="152460"/>
                    <a:pt x="161604" y="152185"/>
                  </a:cubicBezTo>
                  <a:cubicBezTo>
                    <a:pt x="158842" y="151975"/>
                    <a:pt x="156241" y="151765"/>
                    <a:pt x="154642" y="152961"/>
                  </a:cubicBezTo>
                  <a:cubicBezTo>
                    <a:pt x="152461" y="154592"/>
                    <a:pt x="152542" y="158389"/>
                    <a:pt x="152639" y="162411"/>
                  </a:cubicBezTo>
                  <a:cubicBezTo>
                    <a:pt x="152752" y="167435"/>
                    <a:pt x="152897" y="173671"/>
                    <a:pt x="147615" y="176724"/>
                  </a:cubicBezTo>
                  <a:cubicBezTo>
                    <a:pt x="140701" y="180730"/>
                    <a:pt x="133464" y="174074"/>
                    <a:pt x="129570" y="170488"/>
                  </a:cubicBezTo>
                  <a:cubicBezTo>
                    <a:pt x="127164" y="168275"/>
                    <a:pt x="123432" y="166837"/>
                    <a:pt x="121235" y="167306"/>
                  </a:cubicBezTo>
                  <a:cubicBezTo>
                    <a:pt x="120492" y="167467"/>
                    <a:pt x="120088" y="167790"/>
                    <a:pt x="119797" y="168453"/>
                  </a:cubicBezTo>
                  <a:cubicBezTo>
                    <a:pt x="119652" y="168792"/>
                    <a:pt x="119555" y="169277"/>
                    <a:pt x="119442" y="169810"/>
                  </a:cubicBezTo>
                  <a:cubicBezTo>
                    <a:pt x="119264" y="170666"/>
                    <a:pt x="119038" y="171748"/>
                    <a:pt x="118473" y="172798"/>
                  </a:cubicBezTo>
                  <a:cubicBezTo>
                    <a:pt x="117083" y="175399"/>
                    <a:pt x="114369" y="176675"/>
                    <a:pt x="111219" y="176191"/>
                  </a:cubicBezTo>
                  <a:cubicBezTo>
                    <a:pt x="107778" y="175674"/>
                    <a:pt x="103869" y="172927"/>
                    <a:pt x="103078" y="168727"/>
                  </a:cubicBezTo>
                  <a:cubicBezTo>
                    <a:pt x="102076" y="163445"/>
                    <a:pt x="104774" y="158792"/>
                    <a:pt x="107148" y="154706"/>
                  </a:cubicBezTo>
                  <a:lnTo>
                    <a:pt x="107585" y="153962"/>
                  </a:lnTo>
                  <a:cubicBezTo>
                    <a:pt x="119539" y="133237"/>
                    <a:pt x="121590" y="107519"/>
                    <a:pt x="113061" y="85162"/>
                  </a:cubicBezTo>
                  <a:cubicBezTo>
                    <a:pt x="111526" y="81155"/>
                    <a:pt x="107762" y="74791"/>
                    <a:pt x="103126" y="74952"/>
                  </a:cubicBezTo>
                  <a:cubicBezTo>
                    <a:pt x="100509" y="78070"/>
                    <a:pt x="99653" y="83029"/>
                    <a:pt x="100493" y="90056"/>
                  </a:cubicBezTo>
                  <a:cubicBezTo>
                    <a:pt x="100622" y="91090"/>
                    <a:pt x="100751" y="92124"/>
                    <a:pt x="100897" y="93158"/>
                  </a:cubicBezTo>
                  <a:cubicBezTo>
                    <a:pt x="101672" y="98844"/>
                    <a:pt x="102480" y="104724"/>
                    <a:pt x="100509" y="110475"/>
                  </a:cubicBezTo>
                  <a:cubicBezTo>
                    <a:pt x="98991" y="114902"/>
                    <a:pt x="95178" y="118762"/>
                    <a:pt x="90800" y="120297"/>
                  </a:cubicBezTo>
                  <a:cubicBezTo>
                    <a:pt x="87376" y="121492"/>
                    <a:pt x="83951" y="121186"/>
                    <a:pt x="81156" y="119392"/>
                  </a:cubicBezTo>
                  <a:cubicBezTo>
                    <a:pt x="76375" y="116355"/>
                    <a:pt x="75050" y="110572"/>
                    <a:pt x="73871" y="105451"/>
                  </a:cubicBezTo>
                  <a:cubicBezTo>
                    <a:pt x="72498" y="99458"/>
                    <a:pt x="71528" y="96583"/>
                    <a:pt x="68718" y="96147"/>
                  </a:cubicBezTo>
                  <a:cubicBezTo>
                    <a:pt x="65713" y="95678"/>
                    <a:pt x="62870" y="99183"/>
                    <a:pt x="62062" y="100250"/>
                  </a:cubicBezTo>
                  <a:cubicBezTo>
                    <a:pt x="55019" y="109700"/>
                    <a:pt x="55213" y="123786"/>
                    <a:pt x="62531" y="133026"/>
                  </a:cubicBezTo>
                  <a:cubicBezTo>
                    <a:pt x="62918" y="133511"/>
                    <a:pt x="63322" y="133996"/>
                    <a:pt x="63726" y="134464"/>
                  </a:cubicBezTo>
                  <a:cubicBezTo>
                    <a:pt x="65487" y="136548"/>
                    <a:pt x="67474" y="138923"/>
                    <a:pt x="68201" y="142057"/>
                  </a:cubicBezTo>
                  <a:cubicBezTo>
                    <a:pt x="69913" y="149536"/>
                    <a:pt x="63257" y="155885"/>
                    <a:pt x="60414" y="158599"/>
                  </a:cubicBezTo>
                  <a:lnTo>
                    <a:pt x="44777" y="173541"/>
                  </a:lnTo>
                  <a:cubicBezTo>
                    <a:pt x="42806" y="175431"/>
                    <a:pt x="39818" y="178274"/>
                    <a:pt x="35811" y="178501"/>
                  </a:cubicBezTo>
                  <a:cubicBezTo>
                    <a:pt x="29867" y="178856"/>
                    <a:pt x="26119" y="173574"/>
                    <a:pt x="23389" y="169729"/>
                  </a:cubicBezTo>
                  <a:lnTo>
                    <a:pt x="22953" y="169131"/>
                  </a:lnTo>
                  <a:cubicBezTo>
                    <a:pt x="21337" y="166886"/>
                    <a:pt x="18995" y="165141"/>
                    <a:pt x="17234" y="164883"/>
                  </a:cubicBezTo>
                  <a:cubicBezTo>
                    <a:pt x="16394" y="164753"/>
                    <a:pt x="15942" y="165028"/>
                    <a:pt x="15635" y="165254"/>
                  </a:cubicBezTo>
                  <a:cubicBezTo>
                    <a:pt x="14375" y="166240"/>
                    <a:pt x="14633" y="167903"/>
                    <a:pt x="16071" y="172378"/>
                  </a:cubicBezTo>
                  <a:cubicBezTo>
                    <a:pt x="16992" y="175270"/>
                    <a:pt x="18042" y="178533"/>
                    <a:pt x="17654" y="181748"/>
                  </a:cubicBezTo>
                  <a:cubicBezTo>
                    <a:pt x="17363" y="184155"/>
                    <a:pt x="16281" y="186190"/>
                    <a:pt x="15328" y="187983"/>
                  </a:cubicBezTo>
                  <a:cubicBezTo>
                    <a:pt x="14811" y="188936"/>
                    <a:pt x="14343" y="189841"/>
                    <a:pt x="14003" y="190729"/>
                  </a:cubicBezTo>
                  <a:cubicBezTo>
                    <a:pt x="12452" y="194865"/>
                    <a:pt x="13648" y="199776"/>
                    <a:pt x="14924" y="204961"/>
                  </a:cubicBezTo>
                  <a:cubicBezTo>
                    <a:pt x="16572" y="211665"/>
                    <a:pt x="18268" y="218579"/>
                    <a:pt x="14116" y="224702"/>
                  </a:cubicBezTo>
                  <a:cubicBezTo>
                    <a:pt x="12646" y="226866"/>
                    <a:pt x="10740" y="228385"/>
                    <a:pt x="8899" y="229871"/>
                  </a:cubicBezTo>
                  <a:cubicBezTo>
                    <a:pt x="8220" y="230404"/>
                    <a:pt x="7542" y="230953"/>
                    <a:pt x="6895" y="231519"/>
                  </a:cubicBezTo>
                  <a:cubicBezTo>
                    <a:pt x="1839" y="236010"/>
                    <a:pt x="-681" y="243311"/>
                    <a:pt x="159" y="251049"/>
                  </a:cubicBezTo>
                  <a:cubicBezTo>
                    <a:pt x="999" y="258787"/>
                    <a:pt x="5038" y="265362"/>
                    <a:pt x="10950" y="268657"/>
                  </a:cubicBezTo>
                  <a:cubicBezTo>
                    <a:pt x="12792" y="269691"/>
                    <a:pt x="15247" y="270257"/>
                    <a:pt x="16152" y="269303"/>
                  </a:cubicBezTo>
                  <a:cubicBezTo>
                    <a:pt x="16717" y="268706"/>
                    <a:pt x="16895" y="267381"/>
                    <a:pt x="17008" y="266186"/>
                  </a:cubicBezTo>
                  <a:lnTo>
                    <a:pt x="17153" y="264667"/>
                  </a:lnTo>
                  <a:cubicBezTo>
                    <a:pt x="17638" y="259579"/>
                    <a:pt x="18187" y="253828"/>
                    <a:pt x="21773" y="249353"/>
                  </a:cubicBezTo>
                  <a:cubicBezTo>
                    <a:pt x="24326" y="246154"/>
                    <a:pt x="28849" y="244361"/>
                    <a:pt x="33033" y="244911"/>
                  </a:cubicBezTo>
                  <a:cubicBezTo>
                    <a:pt x="36312" y="245331"/>
                    <a:pt x="38881" y="247172"/>
                    <a:pt x="40108" y="249951"/>
                  </a:cubicBezTo>
                  <a:cubicBezTo>
                    <a:pt x="41336" y="252729"/>
                    <a:pt x="40932" y="255621"/>
                    <a:pt x="40593" y="258189"/>
                  </a:cubicBezTo>
                  <a:cubicBezTo>
                    <a:pt x="40238" y="260774"/>
                    <a:pt x="40092" y="262406"/>
                    <a:pt x="40884" y="263391"/>
                  </a:cubicBezTo>
                  <a:cubicBezTo>
                    <a:pt x="42209" y="265023"/>
                    <a:pt x="45472" y="264199"/>
                    <a:pt x="49930" y="262842"/>
                  </a:cubicBezTo>
                  <a:cubicBezTo>
                    <a:pt x="54857" y="261356"/>
                    <a:pt x="61561" y="259320"/>
                    <a:pt x="64501" y="265216"/>
                  </a:cubicBezTo>
                  <a:cubicBezTo>
                    <a:pt x="66698" y="268221"/>
                    <a:pt x="67280" y="271985"/>
                    <a:pt x="66165" y="275862"/>
                  </a:cubicBezTo>
                  <a:cubicBezTo>
                    <a:pt x="64534" y="281516"/>
                    <a:pt x="59510" y="286750"/>
                    <a:pt x="53662" y="288866"/>
                  </a:cubicBezTo>
                  <a:cubicBezTo>
                    <a:pt x="49381" y="290417"/>
                    <a:pt x="44922" y="290918"/>
                    <a:pt x="40609" y="291402"/>
                  </a:cubicBezTo>
                  <a:cubicBezTo>
                    <a:pt x="36506" y="291855"/>
                    <a:pt x="32629" y="292291"/>
                    <a:pt x="29027" y="293583"/>
                  </a:cubicBezTo>
                  <a:cubicBezTo>
                    <a:pt x="24956" y="295037"/>
                    <a:pt x="21160" y="298866"/>
                    <a:pt x="20013" y="302678"/>
                  </a:cubicBezTo>
                  <a:cubicBezTo>
                    <a:pt x="19350" y="304891"/>
                    <a:pt x="19609" y="306830"/>
                    <a:pt x="20804" y="308445"/>
                  </a:cubicBezTo>
                  <a:cubicBezTo>
                    <a:pt x="23357" y="311870"/>
                    <a:pt x="28284" y="311789"/>
                    <a:pt x="33954" y="311692"/>
                  </a:cubicBezTo>
                  <a:cubicBezTo>
                    <a:pt x="37185" y="311627"/>
                    <a:pt x="40512" y="311595"/>
                    <a:pt x="43695" y="312209"/>
                  </a:cubicBezTo>
                  <a:cubicBezTo>
                    <a:pt x="45730" y="312613"/>
                    <a:pt x="47604" y="313291"/>
                    <a:pt x="49429" y="313954"/>
                  </a:cubicBezTo>
                  <a:cubicBezTo>
                    <a:pt x="51546" y="314713"/>
                    <a:pt x="53533" y="315440"/>
                    <a:pt x="55520" y="315634"/>
                  </a:cubicBezTo>
                  <a:cubicBezTo>
                    <a:pt x="64017" y="316458"/>
                    <a:pt x="70979" y="307573"/>
                    <a:pt x="74355" y="302193"/>
                  </a:cubicBezTo>
                  <a:cubicBezTo>
                    <a:pt x="75179" y="300885"/>
                    <a:pt x="75987" y="299544"/>
                    <a:pt x="76795" y="298236"/>
                  </a:cubicBezTo>
                  <a:cubicBezTo>
                    <a:pt x="80769" y="291693"/>
                    <a:pt x="84872" y="284908"/>
                    <a:pt x="91657" y="280224"/>
                  </a:cubicBezTo>
                  <a:cubicBezTo>
                    <a:pt x="94241" y="278431"/>
                    <a:pt x="97714" y="278091"/>
                    <a:pt x="100929" y="279303"/>
                  </a:cubicBezTo>
                  <a:cubicBezTo>
                    <a:pt x="104144" y="280514"/>
                    <a:pt x="106518" y="283067"/>
                    <a:pt x="107278" y="286136"/>
                  </a:cubicBezTo>
                  <a:cubicBezTo>
                    <a:pt x="108554" y="291354"/>
                    <a:pt x="105565" y="296055"/>
                    <a:pt x="103158" y="299819"/>
                  </a:cubicBezTo>
                  <a:lnTo>
                    <a:pt x="102932" y="300174"/>
                  </a:lnTo>
                  <a:cubicBezTo>
                    <a:pt x="94580" y="313259"/>
                    <a:pt x="90138" y="329026"/>
                    <a:pt x="90429" y="344550"/>
                  </a:cubicBezTo>
                  <a:cubicBezTo>
                    <a:pt x="90461" y="346262"/>
                    <a:pt x="90752" y="350317"/>
                    <a:pt x="92803" y="351076"/>
                  </a:cubicBezTo>
                  <a:cubicBezTo>
                    <a:pt x="95146" y="351948"/>
                    <a:pt x="98054" y="347829"/>
                    <a:pt x="100057" y="344194"/>
                  </a:cubicBezTo>
                  <a:cubicBezTo>
                    <a:pt x="105371" y="334599"/>
                    <a:pt x="113659" y="326538"/>
                    <a:pt x="123383" y="321482"/>
                  </a:cubicBezTo>
                  <a:cubicBezTo>
                    <a:pt x="123981" y="321175"/>
                    <a:pt x="124579" y="320868"/>
                    <a:pt x="125193" y="320561"/>
                  </a:cubicBezTo>
                  <a:cubicBezTo>
                    <a:pt x="128262" y="319026"/>
                    <a:pt x="131154" y="317588"/>
                    <a:pt x="132737" y="315214"/>
                  </a:cubicBezTo>
                  <a:cubicBezTo>
                    <a:pt x="134433" y="312677"/>
                    <a:pt x="134691" y="308865"/>
                    <a:pt x="133528" y="303583"/>
                  </a:cubicBezTo>
                  <a:cubicBezTo>
                    <a:pt x="131606" y="294811"/>
                    <a:pt x="127697" y="286427"/>
                    <a:pt x="122220" y="279303"/>
                  </a:cubicBezTo>
                  <a:lnTo>
                    <a:pt x="121073" y="277833"/>
                  </a:lnTo>
                  <a:cubicBezTo>
                    <a:pt x="116098" y="271436"/>
                    <a:pt x="109911" y="263456"/>
                    <a:pt x="113303" y="254959"/>
                  </a:cubicBezTo>
                  <a:cubicBezTo>
                    <a:pt x="115242" y="250080"/>
                    <a:pt x="119749" y="247221"/>
                    <a:pt x="123448" y="245282"/>
                  </a:cubicBezTo>
                  <a:cubicBezTo>
                    <a:pt x="131477" y="241066"/>
                    <a:pt x="138665" y="239790"/>
                    <a:pt x="144820" y="241470"/>
                  </a:cubicBezTo>
                  <a:cubicBezTo>
                    <a:pt x="152299" y="243505"/>
                    <a:pt x="158664" y="250128"/>
                    <a:pt x="162735" y="260112"/>
                  </a:cubicBezTo>
                  <a:cubicBezTo>
                    <a:pt x="167791" y="272470"/>
                    <a:pt x="168906" y="286427"/>
                    <a:pt x="165885" y="299431"/>
                  </a:cubicBezTo>
                  <a:cubicBezTo>
                    <a:pt x="165643" y="300497"/>
                    <a:pt x="165368" y="301580"/>
                    <a:pt x="165077" y="302662"/>
                  </a:cubicBezTo>
                  <a:cubicBezTo>
                    <a:pt x="163801" y="307621"/>
                    <a:pt x="162606" y="312290"/>
                    <a:pt x="163979" y="316474"/>
                  </a:cubicBezTo>
                  <a:cubicBezTo>
                    <a:pt x="164754" y="318832"/>
                    <a:pt x="167436" y="320948"/>
                    <a:pt x="170101" y="321304"/>
                  </a:cubicBezTo>
                  <a:cubicBezTo>
                    <a:pt x="171604" y="321498"/>
                    <a:pt x="172718" y="321094"/>
                    <a:pt x="173381" y="320092"/>
                  </a:cubicBezTo>
                  <a:cubicBezTo>
                    <a:pt x="173720" y="319575"/>
                    <a:pt x="173978" y="318865"/>
                    <a:pt x="174253" y="318105"/>
                  </a:cubicBezTo>
                  <a:cubicBezTo>
                    <a:pt x="174673" y="316958"/>
                    <a:pt x="175158" y="315650"/>
                    <a:pt x="176062" y="314454"/>
                  </a:cubicBezTo>
                  <a:cubicBezTo>
                    <a:pt x="179083" y="310497"/>
                    <a:pt x="183994" y="310691"/>
                    <a:pt x="187936" y="310852"/>
                  </a:cubicBezTo>
                  <a:cubicBezTo>
                    <a:pt x="190795" y="310965"/>
                    <a:pt x="193477" y="311078"/>
                    <a:pt x="195108" y="309867"/>
                  </a:cubicBezTo>
                  <a:cubicBezTo>
                    <a:pt x="197289" y="308251"/>
                    <a:pt x="196998" y="305214"/>
                    <a:pt x="196368" y="300368"/>
                  </a:cubicBezTo>
                  <a:cubicBezTo>
                    <a:pt x="195900" y="296830"/>
                    <a:pt x="195367" y="292808"/>
                    <a:pt x="196546" y="289141"/>
                  </a:cubicBezTo>
                  <a:cubicBezTo>
                    <a:pt x="197370" y="286588"/>
                    <a:pt x="198921" y="284408"/>
                    <a:pt x="200423" y="282308"/>
                  </a:cubicBezTo>
                  <a:cubicBezTo>
                    <a:pt x="202636" y="279206"/>
                    <a:pt x="203961" y="277203"/>
                    <a:pt x="203266" y="275297"/>
                  </a:cubicBezTo>
                  <a:cubicBezTo>
                    <a:pt x="202765" y="273924"/>
                    <a:pt x="201263" y="272373"/>
                    <a:pt x="199809" y="270870"/>
                  </a:cubicBezTo>
                  <a:cubicBezTo>
                    <a:pt x="197289" y="268270"/>
                    <a:pt x="193057" y="263908"/>
                    <a:pt x="196917" y="259433"/>
                  </a:cubicBezTo>
                  <a:cubicBezTo>
                    <a:pt x="197289" y="258997"/>
                    <a:pt x="197790" y="258690"/>
                    <a:pt x="198339" y="258529"/>
                  </a:cubicBezTo>
                  <a:lnTo>
                    <a:pt x="202587" y="257333"/>
                  </a:lnTo>
                  <a:cubicBezTo>
                    <a:pt x="201069" y="249951"/>
                    <a:pt x="202184" y="242116"/>
                    <a:pt x="205738" y="235444"/>
                  </a:cubicBezTo>
                  <a:cubicBezTo>
                    <a:pt x="206578" y="233877"/>
                    <a:pt x="207983" y="231713"/>
                    <a:pt x="210568" y="231115"/>
                  </a:cubicBezTo>
                  <a:cubicBezTo>
                    <a:pt x="214008" y="230307"/>
                    <a:pt x="216399" y="232763"/>
                    <a:pt x="217982" y="234378"/>
                  </a:cubicBezTo>
                  <a:cubicBezTo>
                    <a:pt x="218564" y="234976"/>
                    <a:pt x="219097" y="235525"/>
                    <a:pt x="219598" y="235880"/>
                  </a:cubicBezTo>
                  <a:cubicBezTo>
                    <a:pt x="221488" y="237237"/>
                    <a:pt x="224008" y="236397"/>
                    <a:pt x="227950" y="234895"/>
                  </a:cubicBezTo>
                  <a:cubicBezTo>
                    <a:pt x="230970" y="233748"/>
                    <a:pt x="234395" y="232456"/>
                    <a:pt x="237917" y="232763"/>
                  </a:cubicBezTo>
                  <a:cubicBezTo>
                    <a:pt x="241131" y="233037"/>
                    <a:pt x="244007" y="234604"/>
                    <a:pt x="246252" y="237302"/>
                  </a:cubicBezTo>
                  <a:cubicBezTo>
                    <a:pt x="249128" y="240743"/>
                    <a:pt x="250646" y="245799"/>
                    <a:pt x="250210" y="250484"/>
                  </a:cubicBezTo>
                  <a:cubicBezTo>
                    <a:pt x="249709" y="255831"/>
                    <a:pt x="247464" y="260564"/>
                    <a:pt x="245283" y="265152"/>
                  </a:cubicBezTo>
                  <a:cubicBezTo>
                    <a:pt x="244588" y="266590"/>
                    <a:pt x="243910" y="268043"/>
                    <a:pt x="243280" y="269497"/>
                  </a:cubicBezTo>
                  <a:cubicBezTo>
                    <a:pt x="241277" y="274166"/>
                    <a:pt x="239484" y="280741"/>
                    <a:pt x="242391" y="285538"/>
                  </a:cubicBezTo>
                  <a:cubicBezTo>
                    <a:pt x="242860" y="286314"/>
                    <a:pt x="243458" y="287057"/>
                    <a:pt x="244104" y="287865"/>
                  </a:cubicBezTo>
                  <a:cubicBezTo>
                    <a:pt x="245025" y="289012"/>
                    <a:pt x="245994" y="290207"/>
                    <a:pt x="246737" y="291677"/>
                  </a:cubicBezTo>
                  <a:cubicBezTo>
                    <a:pt x="250145" y="298349"/>
                    <a:pt x="246915" y="306232"/>
                    <a:pt x="242779" y="311385"/>
                  </a:cubicBezTo>
                  <a:cubicBezTo>
                    <a:pt x="241309" y="313194"/>
                    <a:pt x="239710" y="314874"/>
                    <a:pt x="238159" y="316490"/>
                  </a:cubicBezTo>
                  <a:cubicBezTo>
                    <a:pt x="235590" y="319155"/>
                    <a:pt x="233167" y="321675"/>
                    <a:pt x="231520" y="324648"/>
                  </a:cubicBezTo>
                  <a:cubicBezTo>
                    <a:pt x="230227" y="327006"/>
                    <a:pt x="229307" y="330544"/>
                    <a:pt x="230922" y="332789"/>
                  </a:cubicBezTo>
                  <a:cubicBezTo>
                    <a:pt x="231633" y="333775"/>
                    <a:pt x="232877" y="334566"/>
                    <a:pt x="234185" y="335406"/>
                  </a:cubicBezTo>
                  <a:lnTo>
                    <a:pt x="235009" y="335940"/>
                  </a:lnTo>
                  <a:cubicBezTo>
                    <a:pt x="242811" y="341060"/>
                    <a:pt x="247755" y="348669"/>
                    <a:pt x="248239" y="356278"/>
                  </a:cubicBezTo>
                  <a:cubicBezTo>
                    <a:pt x="248546" y="361109"/>
                    <a:pt x="246753" y="366198"/>
                    <a:pt x="243442" y="369897"/>
                  </a:cubicBezTo>
                  <a:cubicBezTo>
                    <a:pt x="240566" y="373096"/>
                    <a:pt x="236818" y="374970"/>
                    <a:pt x="232909" y="375147"/>
                  </a:cubicBezTo>
                  <a:cubicBezTo>
                    <a:pt x="228386" y="375357"/>
                    <a:pt x="224460" y="373500"/>
                    <a:pt x="220680" y="371723"/>
                  </a:cubicBezTo>
                  <a:cubicBezTo>
                    <a:pt x="219323" y="371077"/>
                    <a:pt x="218031" y="370479"/>
                    <a:pt x="216739" y="369978"/>
                  </a:cubicBezTo>
                  <a:cubicBezTo>
                    <a:pt x="212797" y="368443"/>
                    <a:pt x="207660" y="368605"/>
                    <a:pt x="206206" y="371529"/>
                  </a:cubicBezTo>
                  <a:cubicBezTo>
                    <a:pt x="204752" y="374437"/>
                    <a:pt x="207159" y="377974"/>
                    <a:pt x="210697" y="382659"/>
                  </a:cubicBezTo>
                  <a:lnTo>
                    <a:pt x="211763" y="384081"/>
                  </a:lnTo>
                  <a:cubicBezTo>
                    <a:pt x="219065" y="393935"/>
                    <a:pt x="221213" y="406616"/>
                    <a:pt x="222635" y="417455"/>
                  </a:cubicBezTo>
                  <a:cubicBezTo>
                    <a:pt x="229727" y="416260"/>
                    <a:pt x="236447" y="417084"/>
                    <a:pt x="241810" y="419846"/>
                  </a:cubicBezTo>
                  <a:cubicBezTo>
                    <a:pt x="249516" y="423804"/>
                    <a:pt x="254184" y="431978"/>
                    <a:pt x="253182" y="439700"/>
                  </a:cubicBezTo>
                  <a:cubicBezTo>
                    <a:pt x="252876" y="442042"/>
                    <a:pt x="252084" y="443916"/>
                    <a:pt x="250824" y="445305"/>
                  </a:cubicBezTo>
                  <a:cubicBezTo>
                    <a:pt x="249354" y="446921"/>
                    <a:pt x="247367" y="447809"/>
                    <a:pt x="245105" y="447874"/>
                  </a:cubicBezTo>
                  <a:cubicBezTo>
                    <a:pt x="240954" y="447938"/>
                    <a:pt x="236786" y="445337"/>
                    <a:pt x="234250" y="442833"/>
                  </a:cubicBezTo>
                  <a:lnTo>
                    <a:pt x="233927" y="442510"/>
                  </a:lnTo>
                  <a:cubicBezTo>
                    <a:pt x="231100" y="439716"/>
                    <a:pt x="227885" y="436549"/>
                    <a:pt x="225090" y="437309"/>
                  </a:cubicBezTo>
                  <a:cubicBezTo>
                    <a:pt x="222667" y="437971"/>
                    <a:pt x="222005" y="440604"/>
                    <a:pt x="221149" y="446048"/>
                  </a:cubicBezTo>
                  <a:cubicBezTo>
                    <a:pt x="220406" y="450798"/>
                    <a:pt x="219549" y="456177"/>
                    <a:pt x="215333" y="459327"/>
                  </a:cubicBezTo>
                  <a:cubicBezTo>
                    <a:pt x="212442" y="461476"/>
                    <a:pt x="208985" y="461734"/>
                    <a:pt x="205931" y="461976"/>
                  </a:cubicBezTo>
                  <a:cubicBezTo>
                    <a:pt x="203460" y="462170"/>
                    <a:pt x="201101" y="462348"/>
                    <a:pt x="199567" y="463479"/>
                  </a:cubicBezTo>
                  <a:cubicBezTo>
                    <a:pt x="198517" y="464254"/>
                    <a:pt x="197919" y="465353"/>
                    <a:pt x="197741" y="466806"/>
                  </a:cubicBezTo>
                  <a:cubicBezTo>
                    <a:pt x="197386" y="469746"/>
                    <a:pt x="198888" y="473882"/>
                    <a:pt x="201376" y="476871"/>
                  </a:cubicBezTo>
                  <a:cubicBezTo>
                    <a:pt x="202313" y="477985"/>
                    <a:pt x="203314" y="479084"/>
                    <a:pt x="204332" y="480182"/>
                  </a:cubicBezTo>
                  <a:cubicBezTo>
                    <a:pt x="207999" y="484140"/>
                    <a:pt x="212151" y="488614"/>
                    <a:pt x="212765" y="494640"/>
                  </a:cubicBezTo>
                  <a:cubicBezTo>
                    <a:pt x="213055" y="497435"/>
                    <a:pt x="212522" y="500036"/>
                    <a:pt x="212005" y="502556"/>
                  </a:cubicBezTo>
                  <a:cubicBezTo>
                    <a:pt x="211698" y="504074"/>
                    <a:pt x="211408" y="505496"/>
                    <a:pt x="211311" y="506885"/>
                  </a:cubicBezTo>
                  <a:cubicBezTo>
                    <a:pt x="211133" y="509567"/>
                    <a:pt x="212377" y="512733"/>
                    <a:pt x="214332" y="512959"/>
                  </a:cubicBezTo>
                  <a:cubicBezTo>
                    <a:pt x="215349" y="513088"/>
                    <a:pt x="216625" y="512474"/>
                    <a:pt x="217756" y="511860"/>
                  </a:cubicBezTo>
                  <a:cubicBezTo>
                    <a:pt x="226770" y="507046"/>
                    <a:pt x="233587" y="499244"/>
                    <a:pt x="240792" y="491005"/>
                  </a:cubicBezTo>
                  <a:cubicBezTo>
                    <a:pt x="248514" y="482185"/>
                    <a:pt x="256494" y="473058"/>
                    <a:pt x="267430" y="467921"/>
                  </a:cubicBezTo>
                  <a:cubicBezTo>
                    <a:pt x="274054" y="464819"/>
                    <a:pt x="280273" y="465062"/>
                    <a:pt x="284053" y="468567"/>
                  </a:cubicBezTo>
                  <a:cubicBezTo>
                    <a:pt x="289012" y="473171"/>
                    <a:pt x="287769" y="481232"/>
                    <a:pt x="283795" y="486046"/>
                  </a:cubicBezTo>
                  <a:cubicBezTo>
                    <a:pt x="281113" y="489293"/>
                    <a:pt x="277640" y="491393"/>
                    <a:pt x="274280" y="493412"/>
                  </a:cubicBezTo>
                  <a:cubicBezTo>
                    <a:pt x="273230" y="494042"/>
                    <a:pt x="272180" y="494688"/>
                    <a:pt x="271146" y="495351"/>
                  </a:cubicBezTo>
                  <a:cubicBezTo>
                    <a:pt x="258594" y="503589"/>
                    <a:pt x="249548" y="518274"/>
                    <a:pt x="244298" y="538983"/>
                  </a:cubicBezTo>
                  <a:cubicBezTo>
                    <a:pt x="242004" y="548030"/>
                    <a:pt x="237448" y="552666"/>
                    <a:pt x="231778" y="551697"/>
                  </a:cubicBezTo>
                  <a:cubicBezTo>
                    <a:pt x="229500" y="551309"/>
                    <a:pt x="227788" y="550033"/>
                    <a:pt x="226302" y="548918"/>
                  </a:cubicBezTo>
                  <a:cubicBezTo>
                    <a:pt x="225979" y="548676"/>
                    <a:pt x="225656" y="548434"/>
                    <a:pt x="225333" y="548207"/>
                  </a:cubicBezTo>
                  <a:cubicBezTo>
                    <a:pt x="220793" y="545025"/>
                    <a:pt x="214412" y="544605"/>
                    <a:pt x="209405" y="546980"/>
                  </a:cubicBezTo>
                  <a:cubicBezTo>
                    <a:pt x="213524" y="558029"/>
                    <a:pt x="221116" y="567592"/>
                    <a:pt x="230970" y="574103"/>
                  </a:cubicBezTo>
                  <a:cubicBezTo>
                    <a:pt x="232683" y="575233"/>
                    <a:pt x="234880" y="576477"/>
                    <a:pt x="236673" y="576106"/>
                  </a:cubicBezTo>
                  <a:cubicBezTo>
                    <a:pt x="238531" y="575718"/>
                    <a:pt x="239758" y="573893"/>
                    <a:pt x="241551" y="570936"/>
                  </a:cubicBezTo>
                  <a:cubicBezTo>
                    <a:pt x="242537" y="569321"/>
                    <a:pt x="243538" y="567657"/>
                    <a:pt x="244863" y="566203"/>
                  </a:cubicBezTo>
                  <a:cubicBezTo>
                    <a:pt x="248320" y="562407"/>
                    <a:pt x="253942" y="561034"/>
                    <a:pt x="259531" y="562633"/>
                  </a:cubicBezTo>
                  <a:cubicBezTo>
                    <a:pt x="264216" y="563958"/>
                    <a:pt x="267834" y="567076"/>
                    <a:pt x="269450" y="571017"/>
                  </a:cubicBezTo>
                  <a:cubicBezTo>
                    <a:pt x="270952" y="570759"/>
                    <a:pt x="272551" y="569967"/>
                    <a:pt x="274328" y="569095"/>
                  </a:cubicBezTo>
                  <a:cubicBezTo>
                    <a:pt x="275637" y="568449"/>
                    <a:pt x="276994" y="567786"/>
                    <a:pt x="278431" y="567286"/>
                  </a:cubicBezTo>
                  <a:cubicBezTo>
                    <a:pt x="282099" y="566009"/>
                    <a:pt x="286702" y="566849"/>
                    <a:pt x="289400" y="569289"/>
                  </a:cubicBezTo>
                  <a:cubicBezTo>
                    <a:pt x="291290" y="571001"/>
                    <a:pt x="292049" y="573343"/>
                    <a:pt x="291468" y="575734"/>
                  </a:cubicBezTo>
                  <a:cubicBezTo>
                    <a:pt x="291242" y="576687"/>
                    <a:pt x="290822" y="577479"/>
                    <a:pt x="290499" y="578109"/>
                  </a:cubicBezTo>
                  <a:cubicBezTo>
                    <a:pt x="286202" y="586315"/>
                    <a:pt x="281275" y="594538"/>
                    <a:pt x="272390" y="597090"/>
                  </a:cubicBezTo>
                  <a:cubicBezTo>
                    <a:pt x="268190" y="598302"/>
                    <a:pt x="264006" y="597898"/>
                    <a:pt x="259951" y="597510"/>
                  </a:cubicBezTo>
                  <a:cubicBezTo>
                    <a:pt x="257544" y="597284"/>
                    <a:pt x="255282" y="597058"/>
                    <a:pt x="253069" y="597171"/>
                  </a:cubicBezTo>
                  <a:cubicBezTo>
                    <a:pt x="243652" y="597655"/>
                    <a:pt x="234944" y="605296"/>
                    <a:pt x="233232" y="614569"/>
                  </a:cubicBezTo>
                  <a:cubicBezTo>
                    <a:pt x="233022" y="615732"/>
                    <a:pt x="232134" y="616637"/>
                    <a:pt x="230987" y="616879"/>
                  </a:cubicBezTo>
                  <a:cubicBezTo>
                    <a:pt x="229840" y="617121"/>
                    <a:pt x="228660" y="616653"/>
                    <a:pt x="227998" y="615684"/>
                  </a:cubicBezTo>
                  <a:cubicBezTo>
                    <a:pt x="225494" y="612033"/>
                    <a:pt x="222909" y="608253"/>
                    <a:pt x="219323" y="606040"/>
                  </a:cubicBezTo>
                  <a:cubicBezTo>
                    <a:pt x="216383" y="604230"/>
                    <a:pt x="212022" y="603568"/>
                    <a:pt x="209356" y="605829"/>
                  </a:cubicBezTo>
                  <a:cubicBezTo>
                    <a:pt x="203088" y="611128"/>
                    <a:pt x="212409" y="623615"/>
                    <a:pt x="213492" y="625021"/>
                  </a:cubicBezTo>
                  <a:cubicBezTo>
                    <a:pt x="215672" y="627864"/>
                    <a:pt x="218516" y="630255"/>
                    <a:pt x="221520" y="632791"/>
                  </a:cubicBezTo>
                  <a:cubicBezTo>
                    <a:pt x="224283" y="635117"/>
                    <a:pt x="227110" y="637508"/>
                    <a:pt x="229500" y="640335"/>
                  </a:cubicBezTo>
                  <a:cubicBezTo>
                    <a:pt x="236414" y="640400"/>
                    <a:pt x="243264" y="639915"/>
                    <a:pt x="247367" y="635650"/>
                  </a:cubicBezTo>
                  <a:cubicBezTo>
                    <a:pt x="248417" y="634552"/>
                    <a:pt x="249322" y="633179"/>
                    <a:pt x="250275" y="631709"/>
                  </a:cubicBezTo>
                  <a:cubicBezTo>
                    <a:pt x="252019" y="629043"/>
                    <a:pt x="253990" y="626022"/>
                    <a:pt x="257350" y="624358"/>
                  </a:cubicBezTo>
                  <a:cubicBezTo>
                    <a:pt x="260646" y="622727"/>
                    <a:pt x="264410" y="622888"/>
                    <a:pt x="267964" y="624827"/>
                  </a:cubicBezTo>
                  <a:cubicBezTo>
                    <a:pt x="272390" y="627218"/>
                    <a:pt x="275604" y="631919"/>
                    <a:pt x="276186" y="636765"/>
                  </a:cubicBezTo>
                  <a:cubicBezTo>
                    <a:pt x="277091" y="644470"/>
                    <a:pt x="273278" y="651530"/>
                    <a:pt x="269030" y="658008"/>
                  </a:cubicBezTo>
                  <a:cubicBezTo>
                    <a:pt x="267075" y="660980"/>
                    <a:pt x="265040" y="663920"/>
                    <a:pt x="263004" y="666860"/>
                  </a:cubicBezTo>
                  <a:cubicBezTo>
                    <a:pt x="257576" y="674711"/>
                    <a:pt x="251955" y="682837"/>
                    <a:pt x="248013" y="691544"/>
                  </a:cubicBezTo>
                  <a:cubicBezTo>
                    <a:pt x="244750" y="698732"/>
                    <a:pt x="240178" y="712237"/>
                    <a:pt x="244201" y="725241"/>
                  </a:cubicBezTo>
                  <a:cubicBezTo>
                    <a:pt x="254184" y="720347"/>
                    <a:pt x="263247" y="713400"/>
                    <a:pt x="270532" y="705000"/>
                  </a:cubicBezTo>
                  <a:lnTo>
                    <a:pt x="270887" y="704596"/>
                  </a:lnTo>
                  <a:cubicBezTo>
                    <a:pt x="272697" y="702512"/>
                    <a:pt x="274748" y="700138"/>
                    <a:pt x="277769" y="698942"/>
                  </a:cubicBezTo>
                  <a:cubicBezTo>
                    <a:pt x="280015" y="698054"/>
                    <a:pt x="282648" y="698135"/>
                    <a:pt x="284796" y="699136"/>
                  </a:cubicBezTo>
                  <a:cubicBezTo>
                    <a:pt x="286573" y="699976"/>
                    <a:pt x="287882" y="701398"/>
                    <a:pt x="288447" y="703142"/>
                  </a:cubicBezTo>
                  <a:cubicBezTo>
                    <a:pt x="289222" y="705517"/>
                    <a:pt x="288512" y="707843"/>
                    <a:pt x="288027" y="709362"/>
                  </a:cubicBezTo>
                  <a:lnTo>
                    <a:pt x="276687" y="746000"/>
                  </a:lnTo>
                  <a:cubicBezTo>
                    <a:pt x="275831" y="748746"/>
                    <a:pt x="274668" y="752526"/>
                    <a:pt x="271663" y="754997"/>
                  </a:cubicBezTo>
                  <a:cubicBezTo>
                    <a:pt x="268610" y="757518"/>
                    <a:pt x="264603" y="757905"/>
                    <a:pt x="261680" y="758196"/>
                  </a:cubicBezTo>
                  <a:lnTo>
                    <a:pt x="232441" y="761055"/>
                  </a:lnTo>
                  <a:cubicBezTo>
                    <a:pt x="221213" y="762154"/>
                    <a:pt x="210584" y="763705"/>
                    <a:pt x="203815" y="770522"/>
                  </a:cubicBezTo>
                  <a:cubicBezTo>
                    <a:pt x="200181" y="774189"/>
                    <a:pt x="198630" y="780456"/>
                    <a:pt x="200019" y="785755"/>
                  </a:cubicBezTo>
                  <a:cubicBezTo>
                    <a:pt x="200568" y="787823"/>
                    <a:pt x="202087" y="791490"/>
                    <a:pt x="206141" y="792621"/>
                  </a:cubicBezTo>
                  <a:cubicBezTo>
                    <a:pt x="209873" y="793671"/>
                    <a:pt x="214057" y="792330"/>
                    <a:pt x="218758" y="790601"/>
                  </a:cubicBezTo>
                  <a:lnTo>
                    <a:pt x="233620" y="785141"/>
                  </a:lnTo>
                  <a:cubicBezTo>
                    <a:pt x="236947" y="783913"/>
                    <a:pt x="247092" y="780198"/>
                    <a:pt x="252924" y="786434"/>
                  </a:cubicBezTo>
                  <a:cubicBezTo>
                    <a:pt x="256155" y="789874"/>
                    <a:pt x="256478" y="794737"/>
                    <a:pt x="256769" y="799018"/>
                  </a:cubicBezTo>
                  <a:cubicBezTo>
                    <a:pt x="257108" y="804106"/>
                    <a:pt x="257512" y="806610"/>
                    <a:pt x="259660" y="807515"/>
                  </a:cubicBezTo>
                  <a:cubicBezTo>
                    <a:pt x="262148" y="808549"/>
                    <a:pt x="264700" y="806255"/>
                    <a:pt x="268610" y="802345"/>
                  </a:cubicBezTo>
                  <a:cubicBezTo>
                    <a:pt x="272551" y="798388"/>
                    <a:pt x="277462" y="793477"/>
                    <a:pt x="283682" y="795512"/>
                  </a:cubicBezTo>
                  <a:cubicBezTo>
                    <a:pt x="290014" y="797596"/>
                    <a:pt x="291436" y="805205"/>
                    <a:pt x="290725" y="811085"/>
                  </a:cubicBezTo>
                  <a:cubicBezTo>
                    <a:pt x="290644" y="811763"/>
                    <a:pt x="290547" y="812442"/>
                    <a:pt x="290450" y="813136"/>
                  </a:cubicBezTo>
                  <a:cubicBezTo>
                    <a:pt x="289917" y="817078"/>
                    <a:pt x="289400" y="820793"/>
                    <a:pt x="291145" y="823346"/>
                  </a:cubicBezTo>
                  <a:cubicBezTo>
                    <a:pt x="295022" y="829032"/>
                    <a:pt x="306233" y="824040"/>
                    <a:pt x="308446" y="822974"/>
                  </a:cubicBezTo>
                  <a:cubicBezTo>
                    <a:pt x="312727" y="820923"/>
                    <a:pt x="325731" y="814671"/>
                    <a:pt x="333130" y="822797"/>
                  </a:cubicBezTo>
                  <a:cubicBezTo>
                    <a:pt x="335892" y="825834"/>
                    <a:pt x="336732" y="829872"/>
                    <a:pt x="335472" y="834185"/>
                  </a:cubicBezTo>
                  <a:cubicBezTo>
                    <a:pt x="333808" y="839936"/>
                    <a:pt x="328639" y="845041"/>
                    <a:pt x="322904" y="846608"/>
                  </a:cubicBezTo>
                  <a:cubicBezTo>
                    <a:pt x="316555" y="848336"/>
                    <a:pt x="310175" y="847335"/>
                    <a:pt x="304004" y="846366"/>
                  </a:cubicBezTo>
                  <a:cubicBezTo>
                    <a:pt x="301548" y="845978"/>
                    <a:pt x="299222" y="845606"/>
                    <a:pt x="296896" y="845412"/>
                  </a:cubicBezTo>
                  <a:cubicBezTo>
                    <a:pt x="289626" y="844766"/>
                    <a:pt x="280855" y="846963"/>
                    <a:pt x="278738" y="853264"/>
                  </a:cubicBezTo>
                  <a:cubicBezTo>
                    <a:pt x="277398" y="857270"/>
                    <a:pt x="279207" y="862358"/>
                    <a:pt x="283165" y="865605"/>
                  </a:cubicBezTo>
                  <a:cubicBezTo>
                    <a:pt x="286573" y="868416"/>
                    <a:pt x="291355" y="870096"/>
                    <a:pt x="297768" y="870742"/>
                  </a:cubicBezTo>
                  <a:cubicBezTo>
                    <a:pt x="298640" y="870823"/>
                    <a:pt x="299513" y="870904"/>
                    <a:pt x="300401" y="870969"/>
                  </a:cubicBezTo>
                  <a:cubicBezTo>
                    <a:pt x="305296" y="871356"/>
                    <a:pt x="310853" y="871809"/>
                    <a:pt x="315295" y="875088"/>
                  </a:cubicBezTo>
                  <a:cubicBezTo>
                    <a:pt x="317363" y="876622"/>
                    <a:pt x="319011" y="878593"/>
                    <a:pt x="320610" y="880516"/>
                  </a:cubicBezTo>
                  <a:cubicBezTo>
                    <a:pt x="323437" y="883892"/>
                    <a:pt x="325279" y="885976"/>
                    <a:pt x="327766" y="885830"/>
                  </a:cubicBezTo>
                  <a:cubicBezTo>
                    <a:pt x="329140" y="885766"/>
                    <a:pt x="330626" y="884926"/>
                    <a:pt x="332193" y="884053"/>
                  </a:cubicBezTo>
                  <a:cubicBezTo>
                    <a:pt x="332904" y="883650"/>
                    <a:pt x="333614" y="883246"/>
                    <a:pt x="334341" y="882906"/>
                  </a:cubicBezTo>
                  <a:cubicBezTo>
                    <a:pt x="344938" y="877721"/>
                    <a:pt x="356699" y="882341"/>
                    <a:pt x="367070" y="886428"/>
                  </a:cubicBezTo>
                  <a:lnTo>
                    <a:pt x="367780" y="886703"/>
                  </a:lnTo>
                  <a:cubicBezTo>
                    <a:pt x="380591" y="891727"/>
                    <a:pt x="389863" y="891710"/>
                    <a:pt x="395323" y="886654"/>
                  </a:cubicBezTo>
                  <a:cubicBezTo>
                    <a:pt x="396486" y="885572"/>
                    <a:pt x="397520" y="884231"/>
                    <a:pt x="398603" y="882793"/>
                  </a:cubicBezTo>
                  <a:cubicBezTo>
                    <a:pt x="400525" y="880257"/>
                    <a:pt x="402722" y="877382"/>
                    <a:pt x="406082" y="875799"/>
                  </a:cubicBezTo>
                  <a:cubicBezTo>
                    <a:pt x="408231" y="874797"/>
                    <a:pt x="410492" y="874490"/>
                    <a:pt x="412495" y="874232"/>
                  </a:cubicBezTo>
                  <a:cubicBezTo>
                    <a:pt x="413465" y="874102"/>
                    <a:pt x="414434" y="873973"/>
                    <a:pt x="415387" y="873763"/>
                  </a:cubicBezTo>
                  <a:cubicBezTo>
                    <a:pt x="421493" y="872374"/>
                    <a:pt x="426210" y="867075"/>
                    <a:pt x="430766" y="861938"/>
                  </a:cubicBezTo>
                  <a:cubicBezTo>
                    <a:pt x="431573" y="861017"/>
                    <a:pt x="432397" y="860113"/>
                    <a:pt x="433205" y="859224"/>
                  </a:cubicBezTo>
                  <a:cubicBezTo>
                    <a:pt x="437744" y="854281"/>
                    <a:pt x="446532" y="846673"/>
                    <a:pt x="456208" y="848659"/>
                  </a:cubicBezTo>
                  <a:cubicBezTo>
                    <a:pt x="461669" y="842133"/>
                    <a:pt x="460506" y="833507"/>
                    <a:pt x="459181" y="823620"/>
                  </a:cubicBezTo>
                  <a:lnTo>
                    <a:pt x="459149" y="82358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8" name="Free-form: Shape 327">
              <a:extLst>
                <a:ext uri="{FF2B5EF4-FFF2-40B4-BE49-F238E27FC236}">
                  <a16:creationId xmlns:a16="http://schemas.microsoft.com/office/drawing/2014/main" id="{108DBD03-29F8-734A-1F44-09FAEBAE6493}"/>
                </a:ext>
              </a:extLst>
            </p:cNvPr>
            <p:cNvSpPr/>
            <p:nvPr/>
          </p:nvSpPr>
          <p:spPr>
            <a:xfrm>
              <a:off x="5369483" y="2608056"/>
              <a:ext cx="45149" cy="26920"/>
            </a:xfrm>
            <a:custGeom>
              <a:avLst/>
              <a:gdLst>
                <a:gd name="connsiteX0" fmla="*/ 13728 w 45149"/>
                <a:gd name="connsiteY0" fmla="*/ 20855 h 26920"/>
                <a:gd name="connsiteX1" fmla="*/ 14552 w 45149"/>
                <a:gd name="connsiteY1" fmla="*/ 23084 h 26920"/>
                <a:gd name="connsiteX2" fmla="*/ 15117 w 45149"/>
                <a:gd name="connsiteY2" fmla="*/ 24619 h 26920"/>
                <a:gd name="connsiteX3" fmla="*/ 22144 w 45149"/>
                <a:gd name="connsiteY3" fmla="*/ 26913 h 26920"/>
                <a:gd name="connsiteX4" fmla="*/ 39300 w 45149"/>
                <a:gd name="connsiteY4" fmla="*/ 22842 h 26920"/>
                <a:gd name="connsiteX5" fmla="*/ 45035 w 45149"/>
                <a:gd name="connsiteY5" fmla="*/ 15960 h 26920"/>
                <a:gd name="connsiteX6" fmla="*/ 29882 w 45149"/>
                <a:gd name="connsiteY6" fmla="*/ 4782 h 26920"/>
                <a:gd name="connsiteX7" fmla="*/ 22322 w 45149"/>
                <a:gd name="connsiteY7" fmla="*/ 3118 h 26920"/>
                <a:gd name="connsiteX8" fmla="*/ 14100 w 45149"/>
                <a:gd name="connsiteY8" fmla="*/ 1292 h 26920"/>
                <a:gd name="connsiteX9" fmla="*/ 7040 w 45149"/>
                <a:gd name="connsiteY9" fmla="*/ 0 h 26920"/>
                <a:gd name="connsiteX10" fmla="*/ 4068 w 45149"/>
                <a:gd name="connsiteY10" fmla="*/ 485 h 26920"/>
                <a:gd name="connsiteX11" fmla="*/ 159 w 45149"/>
                <a:gd name="connsiteY11" fmla="*/ 5622 h 26920"/>
                <a:gd name="connsiteX12" fmla="*/ 1823 w 45149"/>
                <a:gd name="connsiteY12" fmla="*/ 11857 h 26920"/>
                <a:gd name="connsiteX13" fmla="*/ 6039 w 45149"/>
                <a:gd name="connsiteY13" fmla="*/ 14410 h 26920"/>
                <a:gd name="connsiteX14" fmla="*/ 13712 w 45149"/>
                <a:gd name="connsiteY14" fmla="*/ 20823 h 26920"/>
                <a:gd name="connsiteX15" fmla="*/ 13728 w 45149"/>
                <a:gd name="connsiteY15" fmla="*/ 20855 h 2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149" h="26920">
                  <a:moveTo>
                    <a:pt x="13728" y="20855"/>
                  </a:moveTo>
                  <a:cubicBezTo>
                    <a:pt x="14100" y="21631"/>
                    <a:pt x="14342" y="22406"/>
                    <a:pt x="14552" y="23084"/>
                  </a:cubicBezTo>
                  <a:cubicBezTo>
                    <a:pt x="14730" y="23666"/>
                    <a:pt x="14907" y="24231"/>
                    <a:pt x="15117" y="24619"/>
                  </a:cubicBezTo>
                  <a:cubicBezTo>
                    <a:pt x="16329" y="26832"/>
                    <a:pt x="20448" y="26961"/>
                    <a:pt x="22144" y="26913"/>
                  </a:cubicBezTo>
                  <a:cubicBezTo>
                    <a:pt x="28041" y="26751"/>
                    <a:pt x="33969" y="25346"/>
                    <a:pt x="39300" y="22842"/>
                  </a:cubicBezTo>
                  <a:cubicBezTo>
                    <a:pt x="42063" y="21550"/>
                    <a:pt x="45859" y="18658"/>
                    <a:pt x="45035" y="15960"/>
                  </a:cubicBezTo>
                  <a:cubicBezTo>
                    <a:pt x="43888" y="13957"/>
                    <a:pt x="32790" y="6219"/>
                    <a:pt x="29882" y="4782"/>
                  </a:cubicBezTo>
                  <a:cubicBezTo>
                    <a:pt x="27669" y="4184"/>
                    <a:pt x="24955" y="3651"/>
                    <a:pt x="22322" y="3118"/>
                  </a:cubicBezTo>
                  <a:cubicBezTo>
                    <a:pt x="19495" y="2552"/>
                    <a:pt x="16555" y="1971"/>
                    <a:pt x="14100" y="1292"/>
                  </a:cubicBezTo>
                  <a:cubicBezTo>
                    <a:pt x="11531" y="598"/>
                    <a:pt x="9173" y="0"/>
                    <a:pt x="7040" y="0"/>
                  </a:cubicBezTo>
                  <a:cubicBezTo>
                    <a:pt x="5990" y="0"/>
                    <a:pt x="4989" y="145"/>
                    <a:pt x="4068" y="485"/>
                  </a:cubicBezTo>
                  <a:cubicBezTo>
                    <a:pt x="2146" y="1195"/>
                    <a:pt x="643" y="3166"/>
                    <a:pt x="159" y="5622"/>
                  </a:cubicBezTo>
                  <a:cubicBezTo>
                    <a:pt x="-326" y="8077"/>
                    <a:pt x="320" y="10468"/>
                    <a:pt x="1823" y="11857"/>
                  </a:cubicBezTo>
                  <a:cubicBezTo>
                    <a:pt x="2905" y="12859"/>
                    <a:pt x="4423" y="13618"/>
                    <a:pt x="6039" y="14410"/>
                  </a:cubicBezTo>
                  <a:cubicBezTo>
                    <a:pt x="8850" y="15815"/>
                    <a:pt x="12048" y="17414"/>
                    <a:pt x="13712" y="20823"/>
                  </a:cubicBezTo>
                  <a:lnTo>
                    <a:pt x="13728" y="2085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9" name="Free-form: Shape 328">
              <a:extLst>
                <a:ext uri="{FF2B5EF4-FFF2-40B4-BE49-F238E27FC236}">
                  <a16:creationId xmlns:a16="http://schemas.microsoft.com/office/drawing/2014/main" id="{650EAB12-1497-5CE5-81B3-8CD6502FAFEF}"/>
                </a:ext>
              </a:extLst>
            </p:cNvPr>
            <p:cNvSpPr/>
            <p:nvPr/>
          </p:nvSpPr>
          <p:spPr>
            <a:xfrm>
              <a:off x="5397689" y="3594787"/>
              <a:ext cx="1024288" cy="760314"/>
            </a:xfrm>
            <a:custGeom>
              <a:avLst/>
              <a:gdLst>
                <a:gd name="connsiteX0" fmla="*/ 11870 w 1024288"/>
                <a:gd name="connsiteY0" fmla="*/ 575591 h 760314"/>
                <a:gd name="connsiteX1" fmla="*/ 13550 w 1024288"/>
                <a:gd name="connsiteY1" fmla="*/ 576835 h 760314"/>
                <a:gd name="connsiteX2" fmla="*/ 40769 w 1024288"/>
                <a:gd name="connsiteY2" fmla="*/ 663712 h 760314"/>
                <a:gd name="connsiteX3" fmla="*/ 40899 w 1024288"/>
                <a:gd name="connsiteY3" fmla="*/ 666248 h 760314"/>
                <a:gd name="connsiteX4" fmla="*/ 48071 w 1024288"/>
                <a:gd name="connsiteY4" fmla="*/ 693097 h 760314"/>
                <a:gd name="connsiteX5" fmla="*/ 64629 w 1024288"/>
                <a:gd name="connsiteY5" fmla="*/ 702143 h 760314"/>
                <a:gd name="connsiteX6" fmla="*/ 126500 w 1024288"/>
                <a:gd name="connsiteY6" fmla="*/ 708491 h 760314"/>
                <a:gd name="connsiteX7" fmla="*/ 160989 w 1024288"/>
                <a:gd name="connsiteY7" fmla="*/ 673825 h 760314"/>
                <a:gd name="connsiteX8" fmla="*/ 164640 w 1024288"/>
                <a:gd name="connsiteY8" fmla="*/ 668558 h 760314"/>
                <a:gd name="connsiteX9" fmla="*/ 220501 w 1024288"/>
                <a:gd name="connsiteY9" fmla="*/ 602762 h 760314"/>
                <a:gd name="connsiteX10" fmla="*/ 252583 w 1024288"/>
                <a:gd name="connsiteY10" fmla="*/ 577691 h 760314"/>
                <a:gd name="connsiteX11" fmla="*/ 331529 w 1024288"/>
                <a:gd name="connsiteY11" fmla="*/ 610112 h 760314"/>
                <a:gd name="connsiteX12" fmla="*/ 357683 w 1024288"/>
                <a:gd name="connsiteY12" fmla="*/ 625346 h 760314"/>
                <a:gd name="connsiteX13" fmla="*/ 369944 w 1024288"/>
                <a:gd name="connsiteY13" fmla="*/ 613052 h 760314"/>
                <a:gd name="connsiteX14" fmla="*/ 373045 w 1024288"/>
                <a:gd name="connsiteY14" fmla="*/ 608481 h 760314"/>
                <a:gd name="connsiteX15" fmla="*/ 388780 w 1024288"/>
                <a:gd name="connsiteY15" fmla="*/ 598126 h 760314"/>
                <a:gd name="connsiteX16" fmla="*/ 398391 w 1024288"/>
                <a:gd name="connsiteY16" fmla="*/ 600727 h 760314"/>
                <a:gd name="connsiteX17" fmla="*/ 403577 w 1024288"/>
                <a:gd name="connsiteY17" fmla="*/ 608303 h 760314"/>
                <a:gd name="connsiteX18" fmla="*/ 429230 w 1024288"/>
                <a:gd name="connsiteY18" fmla="*/ 691433 h 760314"/>
                <a:gd name="connsiteX19" fmla="*/ 429407 w 1024288"/>
                <a:gd name="connsiteY19" fmla="*/ 692563 h 760314"/>
                <a:gd name="connsiteX20" fmla="*/ 436677 w 1024288"/>
                <a:gd name="connsiteY20" fmla="*/ 713903 h 760314"/>
                <a:gd name="connsiteX21" fmla="*/ 458905 w 1024288"/>
                <a:gd name="connsiteY21" fmla="*/ 724807 h 760314"/>
                <a:gd name="connsiteX22" fmla="*/ 647909 w 1024288"/>
                <a:gd name="connsiteY22" fmla="*/ 735211 h 760314"/>
                <a:gd name="connsiteX23" fmla="*/ 663934 w 1024288"/>
                <a:gd name="connsiteY23" fmla="*/ 728539 h 760314"/>
                <a:gd name="connsiteX24" fmla="*/ 720781 w 1024288"/>
                <a:gd name="connsiteY24" fmla="*/ 716019 h 760314"/>
                <a:gd name="connsiteX25" fmla="*/ 755932 w 1024288"/>
                <a:gd name="connsiteY25" fmla="*/ 732723 h 760314"/>
                <a:gd name="connsiteX26" fmla="*/ 791843 w 1024288"/>
                <a:gd name="connsiteY26" fmla="*/ 760314 h 760314"/>
                <a:gd name="connsiteX27" fmla="*/ 799549 w 1024288"/>
                <a:gd name="connsiteY27" fmla="*/ 745097 h 760314"/>
                <a:gd name="connsiteX28" fmla="*/ 815170 w 1024288"/>
                <a:gd name="connsiteY28" fmla="*/ 711642 h 760314"/>
                <a:gd name="connsiteX29" fmla="*/ 817771 w 1024288"/>
                <a:gd name="connsiteY29" fmla="*/ 704986 h 760314"/>
                <a:gd name="connsiteX30" fmla="*/ 825202 w 1024288"/>
                <a:gd name="connsiteY30" fmla="*/ 663857 h 760314"/>
                <a:gd name="connsiteX31" fmla="*/ 825444 w 1024288"/>
                <a:gd name="connsiteY31" fmla="*/ 662307 h 760314"/>
                <a:gd name="connsiteX32" fmla="*/ 824782 w 1024288"/>
                <a:gd name="connsiteY32" fmla="*/ 657735 h 760314"/>
                <a:gd name="connsiteX33" fmla="*/ 824668 w 1024288"/>
                <a:gd name="connsiteY33" fmla="*/ 649012 h 760314"/>
                <a:gd name="connsiteX34" fmla="*/ 820888 w 1024288"/>
                <a:gd name="connsiteY34" fmla="*/ 635717 h 760314"/>
                <a:gd name="connsiteX35" fmla="*/ 815671 w 1024288"/>
                <a:gd name="connsiteY35" fmla="*/ 622050 h 760314"/>
                <a:gd name="connsiteX36" fmla="*/ 815751 w 1024288"/>
                <a:gd name="connsiteY36" fmla="*/ 612519 h 760314"/>
                <a:gd name="connsiteX37" fmla="*/ 815994 w 1024288"/>
                <a:gd name="connsiteY37" fmla="*/ 605589 h 760314"/>
                <a:gd name="connsiteX38" fmla="*/ 803668 w 1024288"/>
                <a:gd name="connsiteY38" fmla="*/ 581406 h 760314"/>
                <a:gd name="connsiteX39" fmla="*/ 790228 w 1024288"/>
                <a:gd name="connsiteY39" fmla="*/ 553023 h 760314"/>
                <a:gd name="connsiteX40" fmla="*/ 793782 w 1024288"/>
                <a:gd name="connsiteY40" fmla="*/ 536385 h 760314"/>
                <a:gd name="connsiteX41" fmla="*/ 803894 w 1024288"/>
                <a:gd name="connsiteY41" fmla="*/ 506677 h 760314"/>
                <a:gd name="connsiteX42" fmla="*/ 807658 w 1024288"/>
                <a:gd name="connsiteY42" fmla="*/ 483447 h 760314"/>
                <a:gd name="connsiteX43" fmla="*/ 806123 w 1024288"/>
                <a:gd name="connsiteY43" fmla="*/ 478019 h 760314"/>
                <a:gd name="connsiteX44" fmla="*/ 804250 w 1024288"/>
                <a:gd name="connsiteY44" fmla="*/ 470992 h 760314"/>
                <a:gd name="connsiteX45" fmla="*/ 806737 w 1024288"/>
                <a:gd name="connsiteY45" fmla="*/ 452609 h 760314"/>
                <a:gd name="connsiteX46" fmla="*/ 890578 w 1024288"/>
                <a:gd name="connsiteY46" fmla="*/ 346007 h 760314"/>
                <a:gd name="connsiteX47" fmla="*/ 918654 w 1024288"/>
                <a:gd name="connsiteY47" fmla="*/ 320904 h 760314"/>
                <a:gd name="connsiteX48" fmla="*/ 944210 w 1024288"/>
                <a:gd name="connsiteY48" fmla="*/ 300291 h 760314"/>
                <a:gd name="connsiteX49" fmla="*/ 1001169 w 1024288"/>
                <a:gd name="connsiteY49" fmla="*/ 276770 h 760314"/>
                <a:gd name="connsiteX50" fmla="*/ 1005676 w 1024288"/>
                <a:gd name="connsiteY50" fmla="*/ 275381 h 760314"/>
                <a:gd name="connsiteX51" fmla="*/ 1014206 w 1024288"/>
                <a:gd name="connsiteY51" fmla="*/ 271552 h 760314"/>
                <a:gd name="connsiteX52" fmla="*/ 1020070 w 1024288"/>
                <a:gd name="connsiteY52" fmla="*/ 261052 h 760314"/>
                <a:gd name="connsiteX53" fmla="*/ 1020829 w 1024288"/>
                <a:gd name="connsiteY53" fmla="*/ 194222 h 760314"/>
                <a:gd name="connsiteX54" fmla="*/ 1011621 w 1024288"/>
                <a:gd name="connsiteY54" fmla="*/ 175047 h 760314"/>
                <a:gd name="connsiteX55" fmla="*/ 991218 w 1024288"/>
                <a:gd name="connsiteY55" fmla="*/ 176905 h 760314"/>
                <a:gd name="connsiteX56" fmla="*/ 975000 w 1024288"/>
                <a:gd name="connsiteY56" fmla="*/ 180879 h 760314"/>
                <a:gd name="connsiteX57" fmla="*/ 939073 w 1024288"/>
                <a:gd name="connsiteY57" fmla="*/ 157972 h 760314"/>
                <a:gd name="connsiteX58" fmla="*/ 930963 w 1024288"/>
                <a:gd name="connsiteY58" fmla="*/ 149088 h 760314"/>
                <a:gd name="connsiteX59" fmla="*/ 894826 w 1024288"/>
                <a:gd name="connsiteY59" fmla="*/ 124743 h 760314"/>
                <a:gd name="connsiteX60" fmla="*/ 882291 w 1024288"/>
                <a:gd name="connsiteY60" fmla="*/ 117781 h 760314"/>
                <a:gd name="connsiteX61" fmla="*/ 881418 w 1024288"/>
                <a:gd name="connsiteY61" fmla="*/ 118087 h 760314"/>
                <a:gd name="connsiteX62" fmla="*/ 880950 w 1024288"/>
                <a:gd name="connsiteY62" fmla="*/ 118136 h 760314"/>
                <a:gd name="connsiteX63" fmla="*/ 844990 w 1024288"/>
                <a:gd name="connsiteY63" fmla="*/ 136665 h 760314"/>
                <a:gd name="connsiteX64" fmla="*/ 842713 w 1024288"/>
                <a:gd name="connsiteY64" fmla="*/ 139459 h 760314"/>
                <a:gd name="connsiteX65" fmla="*/ 821825 w 1024288"/>
                <a:gd name="connsiteY65" fmla="*/ 153013 h 760314"/>
                <a:gd name="connsiteX66" fmla="*/ 804250 w 1024288"/>
                <a:gd name="connsiteY66" fmla="*/ 140558 h 760314"/>
                <a:gd name="connsiteX67" fmla="*/ 790179 w 1024288"/>
                <a:gd name="connsiteY67" fmla="*/ 131689 h 760314"/>
                <a:gd name="connsiteX68" fmla="*/ 785608 w 1024288"/>
                <a:gd name="connsiteY68" fmla="*/ 134484 h 760314"/>
                <a:gd name="connsiteX69" fmla="*/ 783669 w 1024288"/>
                <a:gd name="connsiteY69" fmla="*/ 135922 h 760314"/>
                <a:gd name="connsiteX70" fmla="*/ 758711 w 1024288"/>
                <a:gd name="connsiteY70" fmla="*/ 138991 h 760314"/>
                <a:gd name="connsiteX71" fmla="*/ 740230 w 1024288"/>
                <a:gd name="connsiteY71" fmla="*/ 121916 h 760314"/>
                <a:gd name="connsiteX72" fmla="*/ 738340 w 1024288"/>
                <a:gd name="connsiteY72" fmla="*/ 101853 h 760314"/>
                <a:gd name="connsiteX73" fmla="*/ 736757 w 1024288"/>
                <a:gd name="connsiteY73" fmla="*/ 83824 h 760314"/>
                <a:gd name="connsiteX74" fmla="*/ 690039 w 1024288"/>
                <a:gd name="connsiteY74" fmla="*/ 61015 h 760314"/>
                <a:gd name="connsiteX75" fmla="*/ 624162 w 1024288"/>
                <a:gd name="connsiteY75" fmla="*/ 55022 h 760314"/>
                <a:gd name="connsiteX76" fmla="*/ 616328 w 1024288"/>
                <a:gd name="connsiteY76" fmla="*/ 55393 h 760314"/>
                <a:gd name="connsiteX77" fmla="*/ 616344 w 1024288"/>
                <a:gd name="connsiteY77" fmla="*/ 56346 h 760314"/>
                <a:gd name="connsiteX78" fmla="*/ 611562 w 1024288"/>
                <a:gd name="connsiteY78" fmla="*/ 63858 h 760314"/>
                <a:gd name="connsiteX79" fmla="*/ 610528 w 1024288"/>
                <a:gd name="connsiteY79" fmla="*/ 63922 h 760314"/>
                <a:gd name="connsiteX80" fmla="*/ 546945 w 1024288"/>
                <a:gd name="connsiteY80" fmla="*/ 73502 h 760314"/>
                <a:gd name="connsiteX81" fmla="*/ 543553 w 1024288"/>
                <a:gd name="connsiteY81" fmla="*/ 76555 h 760314"/>
                <a:gd name="connsiteX82" fmla="*/ 531357 w 1024288"/>
                <a:gd name="connsiteY82" fmla="*/ 84794 h 760314"/>
                <a:gd name="connsiteX83" fmla="*/ 516511 w 1024288"/>
                <a:gd name="connsiteY83" fmla="*/ 84600 h 760314"/>
                <a:gd name="connsiteX84" fmla="*/ 468824 w 1024288"/>
                <a:gd name="connsiteY84" fmla="*/ 55199 h 760314"/>
                <a:gd name="connsiteX85" fmla="*/ 468032 w 1024288"/>
                <a:gd name="connsiteY85" fmla="*/ 52033 h 760314"/>
                <a:gd name="connsiteX86" fmla="*/ 465754 w 1024288"/>
                <a:gd name="connsiteY86" fmla="*/ 45717 h 760314"/>
                <a:gd name="connsiteX87" fmla="*/ 454253 w 1024288"/>
                <a:gd name="connsiteY87" fmla="*/ 40693 h 760314"/>
                <a:gd name="connsiteX88" fmla="*/ 383659 w 1024288"/>
                <a:gd name="connsiteY88" fmla="*/ 7286 h 760314"/>
                <a:gd name="connsiteX89" fmla="*/ 364564 w 1024288"/>
                <a:gd name="connsiteY89" fmla="*/ 1697 h 760314"/>
                <a:gd name="connsiteX90" fmla="*/ 361317 w 1024288"/>
                <a:gd name="connsiteY90" fmla="*/ 6381 h 760314"/>
                <a:gd name="connsiteX91" fmla="*/ 349864 w 1024288"/>
                <a:gd name="connsiteY91" fmla="*/ 13667 h 760314"/>
                <a:gd name="connsiteX92" fmla="*/ 345535 w 1024288"/>
                <a:gd name="connsiteY92" fmla="*/ 10403 h 760314"/>
                <a:gd name="connsiteX93" fmla="*/ 344695 w 1024288"/>
                <a:gd name="connsiteY93" fmla="*/ 9515 h 760314"/>
                <a:gd name="connsiteX94" fmla="*/ 336521 w 1024288"/>
                <a:gd name="connsiteY94" fmla="*/ 7043 h 760314"/>
                <a:gd name="connsiteX95" fmla="*/ 325051 w 1024288"/>
                <a:gd name="connsiteY95" fmla="*/ 14151 h 760314"/>
                <a:gd name="connsiteX96" fmla="*/ 322047 w 1024288"/>
                <a:gd name="connsiteY96" fmla="*/ 39723 h 760314"/>
                <a:gd name="connsiteX97" fmla="*/ 322176 w 1024288"/>
                <a:gd name="connsiteY97" fmla="*/ 40693 h 760314"/>
                <a:gd name="connsiteX98" fmla="*/ 316910 w 1024288"/>
                <a:gd name="connsiteY98" fmla="*/ 71321 h 760314"/>
                <a:gd name="connsiteX99" fmla="*/ 296200 w 1024288"/>
                <a:gd name="connsiteY99" fmla="*/ 108573 h 760314"/>
                <a:gd name="connsiteX100" fmla="*/ 270547 w 1024288"/>
                <a:gd name="connsiteY100" fmla="*/ 126262 h 760314"/>
                <a:gd name="connsiteX101" fmla="*/ 265119 w 1024288"/>
                <a:gd name="connsiteY101" fmla="*/ 127296 h 760314"/>
                <a:gd name="connsiteX102" fmla="*/ 257591 w 1024288"/>
                <a:gd name="connsiteY102" fmla="*/ 128959 h 760314"/>
                <a:gd name="connsiteX103" fmla="*/ 249353 w 1024288"/>
                <a:gd name="connsiteY103" fmla="*/ 132933 h 760314"/>
                <a:gd name="connsiteX104" fmla="*/ 247608 w 1024288"/>
                <a:gd name="connsiteY104" fmla="*/ 133903 h 760314"/>
                <a:gd name="connsiteX105" fmla="*/ 195155 w 1024288"/>
                <a:gd name="connsiteY105" fmla="*/ 149556 h 760314"/>
                <a:gd name="connsiteX106" fmla="*/ 190471 w 1024288"/>
                <a:gd name="connsiteY106" fmla="*/ 149879 h 760314"/>
                <a:gd name="connsiteX107" fmla="*/ 159568 w 1024288"/>
                <a:gd name="connsiteY107" fmla="*/ 159685 h 760314"/>
                <a:gd name="connsiteX108" fmla="*/ 152880 w 1024288"/>
                <a:gd name="connsiteY108" fmla="*/ 175564 h 760314"/>
                <a:gd name="connsiteX109" fmla="*/ 144803 w 1024288"/>
                <a:gd name="connsiteY109" fmla="*/ 193915 h 760314"/>
                <a:gd name="connsiteX110" fmla="*/ 138825 w 1024288"/>
                <a:gd name="connsiteY110" fmla="*/ 199521 h 760314"/>
                <a:gd name="connsiteX111" fmla="*/ 131023 w 1024288"/>
                <a:gd name="connsiteY111" fmla="*/ 210376 h 760314"/>
                <a:gd name="connsiteX112" fmla="*/ 133462 w 1024288"/>
                <a:gd name="connsiteY112" fmla="*/ 215352 h 760314"/>
                <a:gd name="connsiteX113" fmla="*/ 146434 w 1024288"/>
                <a:gd name="connsiteY113" fmla="*/ 218971 h 760314"/>
                <a:gd name="connsiteX114" fmla="*/ 153784 w 1024288"/>
                <a:gd name="connsiteY114" fmla="*/ 217807 h 760314"/>
                <a:gd name="connsiteX115" fmla="*/ 171845 w 1024288"/>
                <a:gd name="connsiteY115" fmla="*/ 217371 h 760314"/>
                <a:gd name="connsiteX116" fmla="*/ 175496 w 1024288"/>
                <a:gd name="connsiteY116" fmla="*/ 218712 h 760314"/>
                <a:gd name="connsiteX117" fmla="*/ 182813 w 1024288"/>
                <a:gd name="connsiteY117" fmla="*/ 220037 h 760314"/>
                <a:gd name="connsiteX118" fmla="*/ 186238 w 1024288"/>
                <a:gd name="connsiteY118" fmla="*/ 217016 h 760314"/>
                <a:gd name="connsiteX119" fmla="*/ 192409 w 1024288"/>
                <a:gd name="connsiteY119" fmla="*/ 212267 h 760314"/>
                <a:gd name="connsiteX120" fmla="*/ 208466 w 1024288"/>
                <a:gd name="connsiteY120" fmla="*/ 222185 h 760314"/>
                <a:gd name="connsiteX121" fmla="*/ 215703 w 1024288"/>
                <a:gd name="connsiteY121" fmla="*/ 227290 h 760314"/>
                <a:gd name="connsiteX122" fmla="*/ 217400 w 1024288"/>
                <a:gd name="connsiteY122" fmla="*/ 226579 h 760314"/>
                <a:gd name="connsiteX123" fmla="*/ 218450 w 1024288"/>
                <a:gd name="connsiteY123" fmla="*/ 224108 h 760314"/>
                <a:gd name="connsiteX124" fmla="*/ 219661 w 1024288"/>
                <a:gd name="connsiteY124" fmla="*/ 220974 h 760314"/>
                <a:gd name="connsiteX125" fmla="*/ 226171 w 1024288"/>
                <a:gd name="connsiteY125" fmla="*/ 216047 h 760314"/>
                <a:gd name="connsiteX126" fmla="*/ 241518 w 1024288"/>
                <a:gd name="connsiteY126" fmla="*/ 219681 h 760314"/>
                <a:gd name="connsiteX127" fmla="*/ 276734 w 1024288"/>
                <a:gd name="connsiteY127" fmla="*/ 208858 h 760314"/>
                <a:gd name="connsiteX128" fmla="*/ 278333 w 1024288"/>
                <a:gd name="connsiteY128" fmla="*/ 210716 h 760314"/>
                <a:gd name="connsiteX129" fmla="*/ 277929 w 1024288"/>
                <a:gd name="connsiteY129" fmla="*/ 213139 h 760314"/>
                <a:gd name="connsiteX130" fmla="*/ 204315 w 1024288"/>
                <a:gd name="connsiteY130" fmla="*/ 251263 h 760314"/>
                <a:gd name="connsiteX131" fmla="*/ 200066 w 1024288"/>
                <a:gd name="connsiteY131" fmla="*/ 251134 h 760314"/>
                <a:gd name="connsiteX132" fmla="*/ 184235 w 1024288"/>
                <a:gd name="connsiteY132" fmla="*/ 252555 h 760314"/>
                <a:gd name="connsiteX133" fmla="*/ 176966 w 1024288"/>
                <a:gd name="connsiteY133" fmla="*/ 259728 h 760314"/>
                <a:gd name="connsiteX134" fmla="*/ 177046 w 1024288"/>
                <a:gd name="connsiteY134" fmla="*/ 265382 h 760314"/>
                <a:gd name="connsiteX135" fmla="*/ 195010 w 1024288"/>
                <a:gd name="connsiteY135" fmla="*/ 268548 h 760314"/>
                <a:gd name="connsiteX136" fmla="*/ 220323 w 1024288"/>
                <a:gd name="connsiteY136" fmla="*/ 270325 h 760314"/>
                <a:gd name="connsiteX137" fmla="*/ 221810 w 1024288"/>
                <a:gd name="connsiteY137" fmla="*/ 271908 h 760314"/>
                <a:gd name="connsiteX138" fmla="*/ 223700 w 1024288"/>
                <a:gd name="connsiteY138" fmla="*/ 273733 h 760314"/>
                <a:gd name="connsiteX139" fmla="*/ 230404 w 1024288"/>
                <a:gd name="connsiteY139" fmla="*/ 273992 h 760314"/>
                <a:gd name="connsiteX140" fmla="*/ 242164 w 1024288"/>
                <a:gd name="connsiteY140" fmla="*/ 277077 h 760314"/>
                <a:gd name="connsiteX141" fmla="*/ 242471 w 1024288"/>
                <a:gd name="connsiteY141" fmla="*/ 279791 h 760314"/>
                <a:gd name="connsiteX142" fmla="*/ 227141 w 1024288"/>
                <a:gd name="connsiteY142" fmla="*/ 318335 h 760314"/>
                <a:gd name="connsiteX143" fmla="*/ 219661 w 1024288"/>
                <a:gd name="connsiteY143" fmla="*/ 327543 h 760314"/>
                <a:gd name="connsiteX144" fmla="*/ 204557 w 1024288"/>
                <a:gd name="connsiteY144" fmla="*/ 318303 h 760314"/>
                <a:gd name="connsiteX145" fmla="*/ 203248 w 1024288"/>
                <a:gd name="connsiteY145" fmla="*/ 314862 h 760314"/>
                <a:gd name="connsiteX146" fmla="*/ 198386 w 1024288"/>
                <a:gd name="connsiteY146" fmla="*/ 306397 h 760314"/>
                <a:gd name="connsiteX147" fmla="*/ 192457 w 1024288"/>
                <a:gd name="connsiteY147" fmla="*/ 305492 h 760314"/>
                <a:gd name="connsiteX148" fmla="*/ 183443 w 1024288"/>
                <a:gd name="connsiteY148" fmla="*/ 312923 h 760314"/>
                <a:gd name="connsiteX149" fmla="*/ 179938 w 1024288"/>
                <a:gd name="connsiteY149" fmla="*/ 326703 h 760314"/>
                <a:gd name="connsiteX150" fmla="*/ 178419 w 1024288"/>
                <a:gd name="connsiteY150" fmla="*/ 335152 h 760314"/>
                <a:gd name="connsiteX151" fmla="*/ 173396 w 1024288"/>
                <a:gd name="connsiteY151" fmla="*/ 343487 h 760314"/>
                <a:gd name="connsiteX152" fmla="*/ 166401 w 1024288"/>
                <a:gd name="connsiteY152" fmla="*/ 344618 h 760314"/>
                <a:gd name="connsiteX153" fmla="*/ 155610 w 1024288"/>
                <a:gd name="connsiteY153" fmla="*/ 335394 h 760314"/>
                <a:gd name="connsiteX154" fmla="*/ 146030 w 1024288"/>
                <a:gd name="connsiteY154" fmla="*/ 326121 h 760314"/>
                <a:gd name="connsiteX155" fmla="*/ 138793 w 1024288"/>
                <a:gd name="connsiteY155" fmla="*/ 335249 h 760314"/>
                <a:gd name="connsiteX156" fmla="*/ 127824 w 1024288"/>
                <a:gd name="connsiteY156" fmla="*/ 348430 h 760314"/>
                <a:gd name="connsiteX157" fmla="*/ 83013 w 1024288"/>
                <a:gd name="connsiteY157" fmla="*/ 360804 h 760314"/>
                <a:gd name="connsiteX158" fmla="*/ 50801 w 1024288"/>
                <a:gd name="connsiteY158" fmla="*/ 380868 h 760314"/>
                <a:gd name="connsiteX159" fmla="*/ 49444 w 1024288"/>
                <a:gd name="connsiteY159" fmla="*/ 384697 h 760314"/>
                <a:gd name="connsiteX160" fmla="*/ 46585 w 1024288"/>
                <a:gd name="connsiteY160" fmla="*/ 391643 h 760314"/>
                <a:gd name="connsiteX161" fmla="*/ 33759 w 1024288"/>
                <a:gd name="connsiteY161" fmla="*/ 397248 h 760314"/>
                <a:gd name="connsiteX162" fmla="*/ 29704 w 1024288"/>
                <a:gd name="connsiteY162" fmla="*/ 394583 h 760314"/>
                <a:gd name="connsiteX163" fmla="*/ 28088 w 1024288"/>
                <a:gd name="connsiteY163" fmla="*/ 393307 h 760314"/>
                <a:gd name="connsiteX164" fmla="*/ 18202 w 1024288"/>
                <a:gd name="connsiteY164" fmla="*/ 394664 h 760314"/>
                <a:gd name="connsiteX165" fmla="*/ 12096 w 1024288"/>
                <a:gd name="connsiteY165" fmla="*/ 405503 h 760314"/>
                <a:gd name="connsiteX166" fmla="*/ 12710 w 1024288"/>
                <a:gd name="connsiteY166" fmla="*/ 412595 h 760314"/>
                <a:gd name="connsiteX167" fmla="*/ 16506 w 1024288"/>
                <a:gd name="connsiteY167" fmla="*/ 413257 h 760314"/>
                <a:gd name="connsiteX168" fmla="*/ 17039 w 1024288"/>
                <a:gd name="connsiteY168" fmla="*/ 413257 h 760314"/>
                <a:gd name="connsiteX169" fmla="*/ 48685 w 1024288"/>
                <a:gd name="connsiteY169" fmla="*/ 422901 h 760314"/>
                <a:gd name="connsiteX170" fmla="*/ 76163 w 1024288"/>
                <a:gd name="connsiteY170" fmla="*/ 431915 h 760314"/>
                <a:gd name="connsiteX171" fmla="*/ 94385 w 1024288"/>
                <a:gd name="connsiteY171" fmla="*/ 431043 h 760314"/>
                <a:gd name="connsiteX172" fmla="*/ 107664 w 1024288"/>
                <a:gd name="connsiteY172" fmla="*/ 429928 h 760314"/>
                <a:gd name="connsiteX173" fmla="*/ 136709 w 1024288"/>
                <a:gd name="connsiteY173" fmla="*/ 441979 h 760314"/>
                <a:gd name="connsiteX174" fmla="*/ 159293 w 1024288"/>
                <a:gd name="connsiteY174" fmla="*/ 444596 h 760314"/>
                <a:gd name="connsiteX175" fmla="*/ 163493 w 1024288"/>
                <a:gd name="connsiteY175" fmla="*/ 448522 h 760314"/>
                <a:gd name="connsiteX176" fmla="*/ 160957 w 1024288"/>
                <a:gd name="connsiteY176" fmla="*/ 457423 h 760314"/>
                <a:gd name="connsiteX177" fmla="*/ 133834 w 1024288"/>
                <a:gd name="connsiteY177" fmla="*/ 469393 h 760314"/>
                <a:gd name="connsiteX178" fmla="*/ 130813 w 1024288"/>
                <a:gd name="connsiteY178" fmla="*/ 467713 h 760314"/>
                <a:gd name="connsiteX179" fmla="*/ 126354 w 1024288"/>
                <a:gd name="connsiteY179" fmla="*/ 466001 h 760314"/>
                <a:gd name="connsiteX180" fmla="*/ 123204 w 1024288"/>
                <a:gd name="connsiteY180" fmla="*/ 470766 h 760314"/>
                <a:gd name="connsiteX181" fmla="*/ 121298 w 1024288"/>
                <a:gd name="connsiteY181" fmla="*/ 474918 h 760314"/>
                <a:gd name="connsiteX182" fmla="*/ 103399 w 1024288"/>
                <a:gd name="connsiteY182" fmla="*/ 481897 h 760314"/>
                <a:gd name="connsiteX183" fmla="*/ 89377 w 1024288"/>
                <a:gd name="connsiteY183" fmla="*/ 476469 h 760314"/>
                <a:gd name="connsiteX184" fmla="*/ 86954 w 1024288"/>
                <a:gd name="connsiteY184" fmla="*/ 475241 h 760314"/>
                <a:gd name="connsiteX185" fmla="*/ 68636 w 1024288"/>
                <a:gd name="connsiteY185" fmla="*/ 470782 h 760314"/>
                <a:gd name="connsiteX186" fmla="*/ 57699 w 1024288"/>
                <a:gd name="connsiteY186" fmla="*/ 481460 h 760314"/>
                <a:gd name="connsiteX187" fmla="*/ 57796 w 1024288"/>
                <a:gd name="connsiteY187" fmla="*/ 482946 h 760314"/>
                <a:gd name="connsiteX188" fmla="*/ 57069 w 1024288"/>
                <a:gd name="connsiteY188" fmla="*/ 489020 h 760314"/>
                <a:gd name="connsiteX189" fmla="*/ 50527 w 1024288"/>
                <a:gd name="connsiteY189" fmla="*/ 493721 h 760314"/>
                <a:gd name="connsiteX190" fmla="*/ 47473 w 1024288"/>
                <a:gd name="connsiteY190" fmla="*/ 495143 h 760314"/>
                <a:gd name="connsiteX191" fmla="*/ 44582 w 1024288"/>
                <a:gd name="connsiteY191" fmla="*/ 499795 h 760314"/>
                <a:gd name="connsiteX192" fmla="*/ 36424 w 1024288"/>
                <a:gd name="connsiteY192" fmla="*/ 507501 h 760314"/>
                <a:gd name="connsiteX193" fmla="*/ 26618 w 1024288"/>
                <a:gd name="connsiteY193" fmla="*/ 499714 h 760314"/>
                <a:gd name="connsiteX194" fmla="*/ 25633 w 1024288"/>
                <a:gd name="connsiteY194" fmla="*/ 498018 h 760314"/>
                <a:gd name="connsiteX195" fmla="*/ 16748 w 1024288"/>
                <a:gd name="connsiteY195" fmla="*/ 491880 h 760314"/>
                <a:gd name="connsiteX196" fmla="*/ 6054 w 1024288"/>
                <a:gd name="connsiteY196" fmla="*/ 493382 h 760314"/>
                <a:gd name="connsiteX197" fmla="*/ 2274 w 1024288"/>
                <a:gd name="connsiteY197" fmla="*/ 497566 h 760314"/>
                <a:gd name="connsiteX198" fmla="*/ 3631 w 1024288"/>
                <a:gd name="connsiteY198" fmla="*/ 507840 h 760314"/>
                <a:gd name="connsiteX199" fmla="*/ 5602 w 1024288"/>
                <a:gd name="connsiteY199" fmla="*/ 514867 h 760314"/>
                <a:gd name="connsiteX200" fmla="*/ 2807 w 1024288"/>
                <a:gd name="connsiteY200" fmla="*/ 532604 h 760314"/>
                <a:gd name="connsiteX201" fmla="*/ 12 w 1024288"/>
                <a:gd name="connsiteY201" fmla="*/ 545932 h 760314"/>
                <a:gd name="connsiteX202" fmla="*/ 5941 w 1024288"/>
                <a:gd name="connsiteY202" fmla="*/ 562086 h 760314"/>
                <a:gd name="connsiteX203" fmla="*/ 11353 w 1024288"/>
                <a:gd name="connsiteY203" fmla="*/ 573781 h 760314"/>
                <a:gd name="connsiteX204" fmla="*/ 11789 w 1024288"/>
                <a:gd name="connsiteY204" fmla="*/ 575526 h 760314"/>
                <a:gd name="connsiteX205" fmla="*/ 11870 w 1024288"/>
                <a:gd name="connsiteY205" fmla="*/ 575591 h 76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</a:cxnLst>
              <a:rect l="l" t="t" r="r" b="b"/>
              <a:pathLst>
                <a:path w="1024288" h="760314">
                  <a:moveTo>
                    <a:pt x="11870" y="575591"/>
                  </a:moveTo>
                  <a:cubicBezTo>
                    <a:pt x="12548" y="575785"/>
                    <a:pt x="13162" y="576189"/>
                    <a:pt x="13550" y="576835"/>
                  </a:cubicBezTo>
                  <a:cubicBezTo>
                    <a:pt x="29655" y="603005"/>
                    <a:pt x="39057" y="633035"/>
                    <a:pt x="40769" y="663712"/>
                  </a:cubicBezTo>
                  <a:lnTo>
                    <a:pt x="40899" y="666248"/>
                  </a:lnTo>
                  <a:cubicBezTo>
                    <a:pt x="41400" y="676151"/>
                    <a:pt x="41933" y="686393"/>
                    <a:pt x="48071" y="693097"/>
                  </a:cubicBezTo>
                  <a:cubicBezTo>
                    <a:pt x="52304" y="697717"/>
                    <a:pt x="58846" y="700075"/>
                    <a:pt x="64629" y="702143"/>
                  </a:cubicBezTo>
                  <a:cubicBezTo>
                    <a:pt x="86518" y="710026"/>
                    <a:pt x="107729" y="716439"/>
                    <a:pt x="126500" y="708491"/>
                  </a:cubicBezTo>
                  <a:cubicBezTo>
                    <a:pt x="141475" y="702159"/>
                    <a:pt x="151393" y="687749"/>
                    <a:pt x="160989" y="673825"/>
                  </a:cubicBezTo>
                  <a:cubicBezTo>
                    <a:pt x="162201" y="672064"/>
                    <a:pt x="163412" y="670303"/>
                    <a:pt x="164640" y="668558"/>
                  </a:cubicBezTo>
                  <a:cubicBezTo>
                    <a:pt x="181246" y="644876"/>
                    <a:pt x="201197" y="623472"/>
                    <a:pt x="220501" y="602762"/>
                  </a:cubicBezTo>
                  <a:cubicBezTo>
                    <a:pt x="229289" y="593328"/>
                    <a:pt x="239256" y="582634"/>
                    <a:pt x="252583" y="577691"/>
                  </a:cubicBezTo>
                  <a:cubicBezTo>
                    <a:pt x="288607" y="564331"/>
                    <a:pt x="322111" y="599128"/>
                    <a:pt x="331529" y="610112"/>
                  </a:cubicBezTo>
                  <a:cubicBezTo>
                    <a:pt x="339768" y="619724"/>
                    <a:pt x="348652" y="628221"/>
                    <a:pt x="357683" y="625346"/>
                  </a:cubicBezTo>
                  <a:cubicBezTo>
                    <a:pt x="362997" y="623650"/>
                    <a:pt x="366374" y="618496"/>
                    <a:pt x="369944" y="613052"/>
                  </a:cubicBezTo>
                  <a:cubicBezTo>
                    <a:pt x="370961" y="611502"/>
                    <a:pt x="371995" y="609951"/>
                    <a:pt x="373045" y="608481"/>
                  </a:cubicBezTo>
                  <a:cubicBezTo>
                    <a:pt x="377068" y="602924"/>
                    <a:pt x="383255" y="598853"/>
                    <a:pt x="388780" y="598126"/>
                  </a:cubicBezTo>
                  <a:cubicBezTo>
                    <a:pt x="392398" y="597641"/>
                    <a:pt x="395726" y="598546"/>
                    <a:pt x="398391" y="600727"/>
                  </a:cubicBezTo>
                  <a:cubicBezTo>
                    <a:pt x="400863" y="602730"/>
                    <a:pt x="402252" y="605460"/>
                    <a:pt x="403577" y="608303"/>
                  </a:cubicBezTo>
                  <a:cubicBezTo>
                    <a:pt x="415902" y="634699"/>
                    <a:pt x="424529" y="662678"/>
                    <a:pt x="429230" y="691433"/>
                  </a:cubicBezTo>
                  <a:lnTo>
                    <a:pt x="429407" y="692563"/>
                  </a:lnTo>
                  <a:cubicBezTo>
                    <a:pt x="430667" y="700301"/>
                    <a:pt x="431960" y="708281"/>
                    <a:pt x="436677" y="713903"/>
                  </a:cubicBezTo>
                  <a:cubicBezTo>
                    <a:pt x="441685" y="719848"/>
                    <a:pt x="449713" y="722352"/>
                    <a:pt x="458905" y="724807"/>
                  </a:cubicBezTo>
                  <a:cubicBezTo>
                    <a:pt x="528352" y="743320"/>
                    <a:pt x="590513" y="756873"/>
                    <a:pt x="647909" y="735211"/>
                  </a:cubicBezTo>
                  <a:cubicBezTo>
                    <a:pt x="653224" y="733207"/>
                    <a:pt x="658668" y="730833"/>
                    <a:pt x="663934" y="728539"/>
                  </a:cubicBezTo>
                  <a:cubicBezTo>
                    <a:pt x="682156" y="720607"/>
                    <a:pt x="700992" y="712385"/>
                    <a:pt x="720781" y="716019"/>
                  </a:cubicBezTo>
                  <a:cubicBezTo>
                    <a:pt x="734011" y="718442"/>
                    <a:pt x="745658" y="726019"/>
                    <a:pt x="755932" y="732723"/>
                  </a:cubicBezTo>
                  <a:cubicBezTo>
                    <a:pt x="769130" y="741333"/>
                    <a:pt x="781763" y="750072"/>
                    <a:pt x="791843" y="760314"/>
                  </a:cubicBezTo>
                  <a:cubicBezTo>
                    <a:pt x="794444" y="754967"/>
                    <a:pt x="797029" y="749943"/>
                    <a:pt x="799549" y="745097"/>
                  </a:cubicBezTo>
                  <a:cubicBezTo>
                    <a:pt x="805138" y="734258"/>
                    <a:pt x="810421" y="724032"/>
                    <a:pt x="815170" y="711642"/>
                  </a:cubicBezTo>
                  <a:cubicBezTo>
                    <a:pt x="816074" y="709299"/>
                    <a:pt x="816931" y="707086"/>
                    <a:pt x="817771" y="704986"/>
                  </a:cubicBezTo>
                  <a:cubicBezTo>
                    <a:pt x="823505" y="690415"/>
                    <a:pt x="827302" y="680787"/>
                    <a:pt x="825202" y="663857"/>
                  </a:cubicBezTo>
                  <a:cubicBezTo>
                    <a:pt x="825137" y="663308"/>
                    <a:pt x="825218" y="662775"/>
                    <a:pt x="825444" y="662307"/>
                  </a:cubicBezTo>
                  <a:cubicBezTo>
                    <a:pt x="825315" y="661127"/>
                    <a:pt x="825008" y="659157"/>
                    <a:pt x="824782" y="657735"/>
                  </a:cubicBezTo>
                  <a:cubicBezTo>
                    <a:pt x="823942" y="652469"/>
                    <a:pt x="823586" y="650207"/>
                    <a:pt x="824668" y="649012"/>
                  </a:cubicBezTo>
                  <a:cubicBezTo>
                    <a:pt x="825460" y="644036"/>
                    <a:pt x="823425" y="640321"/>
                    <a:pt x="820888" y="635717"/>
                  </a:cubicBezTo>
                  <a:cubicBezTo>
                    <a:pt x="818805" y="631904"/>
                    <a:pt x="816430" y="627575"/>
                    <a:pt x="815671" y="622050"/>
                  </a:cubicBezTo>
                  <a:cubicBezTo>
                    <a:pt x="815218" y="618787"/>
                    <a:pt x="815493" y="615605"/>
                    <a:pt x="815751" y="612519"/>
                  </a:cubicBezTo>
                  <a:cubicBezTo>
                    <a:pt x="815961" y="610096"/>
                    <a:pt x="816139" y="607819"/>
                    <a:pt x="815994" y="605589"/>
                  </a:cubicBezTo>
                  <a:cubicBezTo>
                    <a:pt x="815396" y="596753"/>
                    <a:pt x="809694" y="589306"/>
                    <a:pt x="803668" y="581406"/>
                  </a:cubicBezTo>
                  <a:cubicBezTo>
                    <a:pt x="797142" y="572877"/>
                    <a:pt x="790405" y="564057"/>
                    <a:pt x="790228" y="553023"/>
                  </a:cubicBezTo>
                  <a:cubicBezTo>
                    <a:pt x="790131" y="547095"/>
                    <a:pt x="792069" y="541409"/>
                    <a:pt x="793782" y="536385"/>
                  </a:cubicBezTo>
                  <a:lnTo>
                    <a:pt x="803894" y="506677"/>
                  </a:lnTo>
                  <a:cubicBezTo>
                    <a:pt x="806366" y="499424"/>
                    <a:pt x="809160" y="491185"/>
                    <a:pt x="807658" y="483447"/>
                  </a:cubicBezTo>
                  <a:cubicBezTo>
                    <a:pt x="807319" y="481654"/>
                    <a:pt x="806737" y="479893"/>
                    <a:pt x="806123" y="478019"/>
                  </a:cubicBezTo>
                  <a:cubicBezTo>
                    <a:pt x="805396" y="475774"/>
                    <a:pt x="804637" y="473464"/>
                    <a:pt x="804250" y="470992"/>
                  </a:cubicBezTo>
                  <a:cubicBezTo>
                    <a:pt x="803248" y="464515"/>
                    <a:pt x="804944" y="458069"/>
                    <a:pt x="806737" y="452609"/>
                  </a:cubicBezTo>
                  <a:cubicBezTo>
                    <a:pt x="821518" y="407733"/>
                    <a:pt x="859820" y="373502"/>
                    <a:pt x="890578" y="346007"/>
                  </a:cubicBezTo>
                  <a:lnTo>
                    <a:pt x="918654" y="320904"/>
                  </a:lnTo>
                  <a:cubicBezTo>
                    <a:pt x="926666" y="313747"/>
                    <a:pt x="934937" y="306333"/>
                    <a:pt x="944210" y="300291"/>
                  </a:cubicBezTo>
                  <a:cubicBezTo>
                    <a:pt x="961575" y="288934"/>
                    <a:pt x="981704" y="282747"/>
                    <a:pt x="1001169" y="276770"/>
                  </a:cubicBezTo>
                  <a:lnTo>
                    <a:pt x="1005676" y="275381"/>
                  </a:lnTo>
                  <a:cubicBezTo>
                    <a:pt x="1008584" y="274476"/>
                    <a:pt x="1011863" y="273459"/>
                    <a:pt x="1014206" y="271552"/>
                  </a:cubicBezTo>
                  <a:cubicBezTo>
                    <a:pt x="1017324" y="269000"/>
                    <a:pt x="1018923" y="264816"/>
                    <a:pt x="1020070" y="261052"/>
                  </a:cubicBezTo>
                  <a:cubicBezTo>
                    <a:pt x="1026709" y="239406"/>
                    <a:pt x="1024367" y="216144"/>
                    <a:pt x="1020829" y="194222"/>
                  </a:cubicBezTo>
                  <a:cubicBezTo>
                    <a:pt x="1019537" y="186226"/>
                    <a:pt x="1017534" y="178359"/>
                    <a:pt x="1011621" y="175047"/>
                  </a:cubicBezTo>
                  <a:cubicBezTo>
                    <a:pt x="1005741" y="171736"/>
                    <a:pt x="999005" y="174127"/>
                    <a:pt x="991218" y="176905"/>
                  </a:cubicBezTo>
                  <a:cubicBezTo>
                    <a:pt x="985984" y="178763"/>
                    <a:pt x="980573" y="180701"/>
                    <a:pt x="975000" y="180879"/>
                  </a:cubicBezTo>
                  <a:cubicBezTo>
                    <a:pt x="959572" y="181412"/>
                    <a:pt x="949169" y="169490"/>
                    <a:pt x="939073" y="157972"/>
                  </a:cubicBezTo>
                  <a:cubicBezTo>
                    <a:pt x="936310" y="154806"/>
                    <a:pt x="933693" y="151834"/>
                    <a:pt x="930963" y="149088"/>
                  </a:cubicBezTo>
                  <a:cubicBezTo>
                    <a:pt x="920786" y="138829"/>
                    <a:pt x="907588" y="131657"/>
                    <a:pt x="894826" y="124743"/>
                  </a:cubicBezTo>
                  <a:cubicBezTo>
                    <a:pt x="890691" y="122498"/>
                    <a:pt x="886442" y="120188"/>
                    <a:pt x="882291" y="117781"/>
                  </a:cubicBezTo>
                  <a:cubicBezTo>
                    <a:pt x="882048" y="117910"/>
                    <a:pt x="881758" y="118023"/>
                    <a:pt x="881418" y="118087"/>
                  </a:cubicBezTo>
                  <a:cubicBezTo>
                    <a:pt x="881257" y="118120"/>
                    <a:pt x="881095" y="118136"/>
                    <a:pt x="880950" y="118136"/>
                  </a:cubicBezTo>
                  <a:cubicBezTo>
                    <a:pt x="867251" y="119218"/>
                    <a:pt x="853811" y="126148"/>
                    <a:pt x="844990" y="136665"/>
                  </a:cubicBezTo>
                  <a:cubicBezTo>
                    <a:pt x="844231" y="137570"/>
                    <a:pt x="843472" y="138506"/>
                    <a:pt x="842713" y="139459"/>
                  </a:cubicBezTo>
                  <a:cubicBezTo>
                    <a:pt x="837285" y="146196"/>
                    <a:pt x="831114" y="153837"/>
                    <a:pt x="821825" y="153013"/>
                  </a:cubicBezTo>
                  <a:cubicBezTo>
                    <a:pt x="814265" y="152351"/>
                    <a:pt x="808950" y="146083"/>
                    <a:pt x="804250" y="140558"/>
                  </a:cubicBezTo>
                  <a:cubicBezTo>
                    <a:pt x="798693" y="134032"/>
                    <a:pt x="794977" y="130171"/>
                    <a:pt x="790179" y="131689"/>
                  </a:cubicBezTo>
                  <a:cubicBezTo>
                    <a:pt x="788628" y="132174"/>
                    <a:pt x="787158" y="133289"/>
                    <a:pt x="785608" y="134484"/>
                  </a:cubicBezTo>
                  <a:cubicBezTo>
                    <a:pt x="784961" y="134969"/>
                    <a:pt x="784331" y="135469"/>
                    <a:pt x="783669" y="135922"/>
                  </a:cubicBezTo>
                  <a:cubicBezTo>
                    <a:pt x="776836" y="140687"/>
                    <a:pt x="767499" y="141834"/>
                    <a:pt x="758711" y="138991"/>
                  </a:cubicBezTo>
                  <a:cubicBezTo>
                    <a:pt x="749907" y="136164"/>
                    <a:pt x="743009" y="129767"/>
                    <a:pt x="740230" y="121916"/>
                  </a:cubicBezTo>
                  <a:cubicBezTo>
                    <a:pt x="737920" y="115374"/>
                    <a:pt x="738130" y="108492"/>
                    <a:pt x="738340" y="101853"/>
                  </a:cubicBezTo>
                  <a:cubicBezTo>
                    <a:pt x="738534" y="95423"/>
                    <a:pt x="738728" y="89365"/>
                    <a:pt x="736757" y="83824"/>
                  </a:cubicBezTo>
                  <a:cubicBezTo>
                    <a:pt x="730635" y="66636"/>
                    <a:pt x="707163" y="62582"/>
                    <a:pt x="690039" y="61015"/>
                  </a:cubicBezTo>
                  <a:lnTo>
                    <a:pt x="624162" y="55022"/>
                  </a:lnTo>
                  <a:cubicBezTo>
                    <a:pt x="621562" y="54779"/>
                    <a:pt x="618638" y="54521"/>
                    <a:pt x="616328" y="55393"/>
                  </a:cubicBezTo>
                  <a:cubicBezTo>
                    <a:pt x="616328" y="55684"/>
                    <a:pt x="616328" y="56055"/>
                    <a:pt x="616344" y="56346"/>
                  </a:cubicBezTo>
                  <a:cubicBezTo>
                    <a:pt x="616425" y="58220"/>
                    <a:pt x="616602" y="62614"/>
                    <a:pt x="611562" y="63858"/>
                  </a:cubicBezTo>
                  <a:cubicBezTo>
                    <a:pt x="611223" y="63939"/>
                    <a:pt x="610868" y="63955"/>
                    <a:pt x="610528" y="63922"/>
                  </a:cubicBezTo>
                  <a:cubicBezTo>
                    <a:pt x="587331" y="61225"/>
                    <a:pt x="563293" y="59755"/>
                    <a:pt x="546945" y="73502"/>
                  </a:cubicBezTo>
                  <a:cubicBezTo>
                    <a:pt x="545798" y="74471"/>
                    <a:pt x="544684" y="75521"/>
                    <a:pt x="543553" y="76555"/>
                  </a:cubicBezTo>
                  <a:cubicBezTo>
                    <a:pt x="540015" y="79867"/>
                    <a:pt x="536348" y="83291"/>
                    <a:pt x="531357" y="84794"/>
                  </a:cubicBezTo>
                  <a:cubicBezTo>
                    <a:pt x="526252" y="86328"/>
                    <a:pt x="520856" y="85375"/>
                    <a:pt x="516511" y="84600"/>
                  </a:cubicBezTo>
                  <a:cubicBezTo>
                    <a:pt x="497287" y="81191"/>
                    <a:pt x="474510" y="74778"/>
                    <a:pt x="468824" y="55199"/>
                  </a:cubicBezTo>
                  <a:cubicBezTo>
                    <a:pt x="468517" y="54165"/>
                    <a:pt x="468274" y="53099"/>
                    <a:pt x="468032" y="52033"/>
                  </a:cubicBezTo>
                  <a:cubicBezTo>
                    <a:pt x="467483" y="49642"/>
                    <a:pt x="466966" y="47364"/>
                    <a:pt x="465754" y="45717"/>
                  </a:cubicBezTo>
                  <a:cubicBezTo>
                    <a:pt x="463460" y="42583"/>
                    <a:pt x="458792" y="41614"/>
                    <a:pt x="454253" y="40693"/>
                  </a:cubicBezTo>
                  <a:cubicBezTo>
                    <a:pt x="428390" y="35330"/>
                    <a:pt x="404029" y="23795"/>
                    <a:pt x="383659" y="7286"/>
                  </a:cubicBezTo>
                  <a:cubicBezTo>
                    <a:pt x="378586" y="3166"/>
                    <a:pt x="369346" y="-3021"/>
                    <a:pt x="364564" y="1697"/>
                  </a:cubicBezTo>
                  <a:cubicBezTo>
                    <a:pt x="363417" y="2827"/>
                    <a:pt x="362351" y="4637"/>
                    <a:pt x="361317" y="6381"/>
                  </a:cubicBezTo>
                  <a:cubicBezTo>
                    <a:pt x="358975" y="10339"/>
                    <a:pt x="355777" y="15751"/>
                    <a:pt x="349864" y="13667"/>
                  </a:cubicBezTo>
                  <a:cubicBezTo>
                    <a:pt x="347893" y="12972"/>
                    <a:pt x="346585" y="11551"/>
                    <a:pt x="345535" y="10403"/>
                  </a:cubicBezTo>
                  <a:cubicBezTo>
                    <a:pt x="345260" y="10097"/>
                    <a:pt x="344986" y="9806"/>
                    <a:pt x="344695" y="9515"/>
                  </a:cubicBezTo>
                  <a:cubicBezTo>
                    <a:pt x="342126" y="6995"/>
                    <a:pt x="338831" y="6785"/>
                    <a:pt x="336521" y="7043"/>
                  </a:cubicBezTo>
                  <a:cubicBezTo>
                    <a:pt x="331949" y="7577"/>
                    <a:pt x="327442" y="10355"/>
                    <a:pt x="325051" y="14151"/>
                  </a:cubicBezTo>
                  <a:cubicBezTo>
                    <a:pt x="320383" y="21534"/>
                    <a:pt x="320916" y="31226"/>
                    <a:pt x="322047" y="39723"/>
                  </a:cubicBezTo>
                  <a:lnTo>
                    <a:pt x="322176" y="40693"/>
                  </a:lnTo>
                  <a:cubicBezTo>
                    <a:pt x="323630" y="51516"/>
                    <a:pt x="325116" y="62711"/>
                    <a:pt x="316910" y="71321"/>
                  </a:cubicBezTo>
                  <a:cubicBezTo>
                    <a:pt x="311643" y="85262"/>
                    <a:pt x="303808" y="97362"/>
                    <a:pt x="296200" y="108573"/>
                  </a:cubicBezTo>
                  <a:cubicBezTo>
                    <a:pt x="290239" y="117361"/>
                    <a:pt x="280886" y="123806"/>
                    <a:pt x="270547" y="126262"/>
                  </a:cubicBezTo>
                  <a:cubicBezTo>
                    <a:pt x="268722" y="126698"/>
                    <a:pt x="266896" y="127005"/>
                    <a:pt x="265119" y="127296"/>
                  </a:cubicBezTo>
                  <a:cubicBezTo>
                    <a:pt x="262470" y="127748"/>
                    <a:pt x="259966" y="128168"/>
                    <a:pt x="257591" y="128959"/>
                  </a:cubicBezTo>
                  <a:cubicBezTo>
                    <a:pt x="254780" y="129896"/>
                    <a:pt x="252147" y="131366"/>
                    <a:pt x="249353" y="132933"/>
                  </a:cubicBezTo>
                  <a:lnTo>
                    <a:pt x="247608" y="133903"/>
                  </a:lnTo>
                  <a:cubicBezTo>
                    <a:pt x="231551" y="142706"/>
                    <a:pt x="213410" y="148118"/>
                    <a:pt x="195155" y="149556"/>
                  </a:cubicBezTo>
                  <a:cubicBezTo>
                    <a:pt x="193621" y="149669"/>
                    <a:pt x="192054" y="149782"/>
                    <a:pt x="190471" y="149879"/>
                  </a:cubicBezTo>
                  <a:cubicBezTo>
                    <a:pt x="178662" y="150671"/>
                    <a:pt x="166433" y="151494"/>
                    <a:pt x="159568" y="159685"/>
                  </a:cubicBezTo>
                  <a:cubicBezTo>
                    <a:pt x="155997" y="163949"/>
                    <a:pt x="154479" y="169587"/>
                    <a:pt x="152880" y="175564"/>
                  </a:cubicBezTo>
                  <a:cubicBezTo>
                    <a:pt x="151151" y="181994"/>
                    <a:pt x="149374" y="188633"/>
                    <a:pt x="144803" y="193915"/>
                  </a:cubicBezTo>
                  <a:cubicBezTo>
                    <a:pt x="143026" y="195967"/>
                    <a:pt x="140893" y="197776"/>
                    <a:pt x="138825" y="199521"/>
                  </a:cubicBezTo>
                  <a:cubicBezTo>
                    <a:pt x="134593" y="203091"/>
                    <a:pt x="130942" y="206176"/>
                    <a:pt x="131023" y="210376"/>
                  </a:cubicBezTo>
                  <a:cubicBezTo>
                    <a:pt x="131055" y="212267"/>
                    <a:pt x="131879" y="213931"/>
                    <a:pt x="133462" y="215352"/>
                  </a:cubicBezTo>
                  <a:cubicBezTo>
                    <a:pt x="136402" y="217985"/>
                    <a:pt x="141604" y="219423"/>
                    <a:pt x="146434" y="218971"/>
                  </a:cubicBezTo>
                  <a:cubicBezTo>
                    <a:pt x="148825" y="218744"/>
                    <a:pt x="151232" y="218292"/>
                    <a:pt x="153784" y="217807"/>
                  </a:cubicBezTo>
                  <a:cubicBezTo>
                    <a:pt x="159664" y="216693"/>
                    <a:pt x="165755" y="215530"/>
                    <a:pt x="171845" y="217371"/>
                  </a:cubicBezTo>
                  <a:cubicBezTo>
                    <a:pt x="173089" y="217743"/>
                    <a:pt x="174316" y="218227"/>
                    <a:pt x="175496" y="218712"/>
                  </a:cubicBezTo>
                  <a:cubicBezTo>
                    <a:pt x="178355" y="219859"/>
                    <a:pt x="180843" y="220844"/>
                    <a:pt x="182813" y="220037"/>
                  </a:cubicBezTo>
                  <a:cubicBezTo>
                    <a:pt x="184009" y="219552"/>
                    <a:pt x="185091" y="218308"/>
                    <a:pt x="186238" y="217016"/>
                  </a:cubicBezTo>
                  <a:cubicBezTo>
                    <a:pt x="187821" y="215207"/>
                    <a:pt x="189630" y="213155"/>
                    <a:pt x="192409" y="212267"/>
                  </a:cubicBezTo>
                  <a:cubicBezTo>
                    <a:pt x="200098" y="209795"/>
                    <a:pt x="205752" y="218163"/>
                    <a:pt x="208466" y="222185"/>
                  </a:cubicBezTo>
                  <a:cubicBezTo>
                    <a:pt x="210292" y="224899"/>
                    <a:pt x="213539" y="227193"/>
                    <a:pt x="215703" y="227290"/>
                  </a:cubicBezTo>
                  <a:cubicBezTo>
                    <a:pt x="216447" y="227306"/>
                    <a:pt x="216947" y="227112"/>
                    <a:pt x="217400" y="226579"/>
                  </a:cubicBezTo>
                  <a:cubicBezTo>
                    <a:pt x="217852" y="226030"/>
                    <a:pt x="218127" y="225141"/>
                    <a:pt x="218450" y="224108"/>
                  </a:cubicBezTo>
                  <a:cubicBezTo>
                    <a:pt x="218740" y="223138"/>
                    <a:pt x="219080" y="222040"/>
                    <a:pt x="219661" y="220974"/>
                  </a:cubicBezTo>
                  <a:cubicBezTo>
                    <a:pt x="221050" y="218405"/>
                    <a:pt x="223312" y="216693"/>
                    <a:pt x="226171" y="216047"/>
                  </a:cubicBezTo>
                  <a:cubicBezTo>
                    <a:pt x="231034" y="214932"/>
                    <a:pt x="236882" y="216968"/>
                    <a:pt x="241518" y="219681"/>
                  </a:cubicBezTo>
                  <a:cubicBezTo>
                    <a:pt x="248642" y="208470"/>
                    <a:pt x="264538" y="203317"/>
                    <a:pt x="276734" y="208858"/>
                  </a:cubicBezTo>
                  <a:cubicBezTo>
                    <a:pt x="277509" y="209213"/>
                    <a:pt x="278091" y="209892"/>
                    <a:pt x="278333" y="210716"/>
                  </a:cubicBezTo>
                  <a:cubicBezTo>
                    <a:pt x="278559" y="211540"/>
                    <a:pt x="278414" y="212428"/>
                    <a:pt x="277929" y="213139"/>
                  </a:cubicBezTo>
                  <a:cubicBezTo>
                    <a:pt x="261807" y="236772"/>
                    <a:pt x="232972" y="251764"/>
                    <a:pt x="204315" y="251263"/>
                  </a:cubicBezTo>
                  <a:cubicBezTo>
                    <a:pt x="202909" y="251247"/>
                    <a:pt x="201488" y="251182"/>
                    <a:pt x="200066" y="251134"/>
                  </a:cubicBezTo>
                  <a:cubicBezTo>
                    <a:pt x="194396" y="250907"/>
                    <a:pt x="189033" y="250697"/>
                    <a:pt x="184235" y="252555"/>
                  </a:cubicBezTo>
                  <a:cubicBezTo>
                    <a:pt x="181004" y="253815"/>
                    <a:pt x="178145" y="256626"/>
                    <a:pt x="176966" y="259728"/>
                  </a:cubicBezTo>
                  <a:cubicBezTo>
                    <a:pt x="176416" y="261149"/>
                    <a:pt x="175996" y="263282"/>
                    <a:pt x="177046" y="265382"/>
                  </a:cubicBezTo>
                  <a:cubicBezTo>
                    <a:pt x="179663" y="270567"/>
                    <a:pt x="188047" y="270422"/>
                    <a:pt x="195010" y="268548"/>
                  </a:cubicBezTo>
                  <a:cubicBezTo>
                    <a:pt x="202732" y="266480"/>
                    <a:pt x="213329" y="263653"/>
                    <a:pt x="220323" y="270325"/>
                  </a:cubicBezTo>
                  <a:cubicBezTo>
                    <a:pt x="220840" y="270826"/>
                    <a:pt x="221325" y="271375"/>
                    <a:pt x="221810" y="271908"/>
                  </a:cubicBezTo>
                  <a:cubicBezTo>
                    <a:pt x="222488" y="272683"/>
                    <a:pt x="223086" y="273346"/>
                    <a:pt x="223700" y="273733"/>
                  </a:cubicBezTo>
                  <a:cubicBezTo>
                    <a:pt x="225250" y="274670"/>
                    <a:pt x="227868" y="274331"/>
                    <a:pt x="230404" y="273992"/>
                  </a:cubicBezTo>
                  <a:cubicBezTo>
                    <a:pt x="234345" y="273475"/>
                    <a:pt x="239256" y="272845"/>
                    <a:pt x="242164" y="277077"/>
                  </a:cubicBezTo>
                  <a:cubicBezTo>
                    <a:pt x="242713" y="277869"/>
                    <a:pt x="242826" y="278903"/>
                    <a:pt x="242471" y="279791"/>
                  </a:cubicBezTo>
                  <a:lnTo>
                    <a:pt x="227141" y="318335"/>
                  </a:lnTo>
                  <a:cubicBezTo>
                    <a:pt x="225687" y="321970"/>
                    <a:pt x="223797" y="325992"/>
                    <a:pt x="219661" y="327543"/>
                  </a:cubicBezTo>
                  <a:cubicBezTo>
                    <a:pt x="213345" y="329918"/>
                    <a:pt x="207158" y="324555"/>
                    <a:pt x="204557" y="318303"/>
                  </a:cubicBezTo>
                  <a:cubicBezTo>
                    <a:pt x="204089" y="317188"/>
                    <a:pt x="203668" y="316025"/>
                    <a:pt x="203248" y="314862"/>
                  </a:cubicBezTo>
                  <a:cubicBezTo>
                    <a:pt x="202005" y="311405"/>
                    <a:pt x="200841" y="308142"/>
                    <a:pt x="198386" y="306397"/>
                  </a:cubicBezTo>
                  <a:cubicBezTo>
                    <a:pt x="196738" y="305218"/>
                    <a:pt x="194751" y="304911"/>
                    <a:pt x="192457" y="305492"/>
                  </a:cubicBezTo>
                  <a:cubicBezTo>
                    <a:pt x="188839" y="306397"/>
                    <a:pt x="185220" y="309386"/>
                    <a:pt x="183443" y="312923"/>
                  </a:cubicBezTo>
                  <a:cubicBezTo>
                    <a:pt x="181376" y="317059"/>
                    <a:pt x="180681" y="321744"/>
                    <a:pt x="179938" y="326703"/>
                  </a:cubicBezTo>
                  <a:cubicBezTo>
                    <a:pt x="179518" y="329481"/>
                    <a:pt x="179098" y="332341"/>
                    <a:pt x="178419" y="335152"/>
                  </a:cubicBezTo>
                  <a:cubicBezTo>
                    <a:pt x="177790" y="337752"/>
                    <a:pt x="176578" y="341436"/>
                    <a:pt x="173396" y="343487"/>
                  </a:cubicBezTo>
                  <a:cubicBezTo>
                    <a:pt x="171312" y="344828"/>
                    <a:pt x="168889" y="345216"/>
                    <a:pt x="166401" y="344618"/>
                  </a:cubicBezTo>
                  <a:cubicBezTo>
                    <a:pt x="161716" y="343487"/>
                    <a:pt x="157742" y="339109"/>
                    <a:pt x="155610" y="335394"/>
                  </a:cubicBezTo>
                  <a:cubicBezTo>
                    <a:pt x="152686" y="330321"/>
                    <a:pt x="149762" y="325766"/>
                    <a:pt x="146030" y="326121"/>
                  </a:cubicBezTo>
                  <a:cubicBezTo>
                    <a:pt x="142541" y="326428"/>
                    <a:pt x="141006" y="329788"/>
                    <a:pt x="138793" y="335249"/>
                  </a:cubicBezTo>
                  <a:cubicBezTo>
                    <a:pt x="136629" y="340596"/>
                    <a:pt x="134157" y="346670"/>
                    <a:pt x="127824" y="348430"/>
                  </a:cubicBezTo>
                  <a:lnTo>
                    <a:pt x="83013" y="360804"/>
                  </a:lnTo>
                  <a:cubicBezTo>
                    <a:pt x="70025" y="364391"/>
                    <a:pt x="55761" y="369205"/>
                    <a:pt x="50801" y="380868"/>
                  </a:cubicBezTo>
                  <a:cubicBezTo>
                    <a:pt x="50284" y="382080"/>
                    <a:pt x="49880" y="383356"/>
                    <a:pt x="49444" y="384697"/>
                  </a:cubicBezTo>
                  <a:cubicBezTo>
                    <a:pt x="48701" y="387007"/>
                    <a:pt x="47942" y="389398"/>
                    <a:pt x="46585" y="391643"/>
                  </a:cubicBezTo>
                  <a:cubicBezTo>
                    <a:pt x="44033" y="395875"/>
                    <a:pt x="38799" y="399155"/>
                    <a:pt x="33759" y="397248"/>
                  </a:cubicBezTo>
                  <a:cubicBezTo>
                    <a:pt x="32079" y="396618"/>
                    <a:pt x="30818" y="395536"/>
                    <a:pt x="29704" y="394583"/>
                  </a:cubicBezTo>
                  <a:cubicBezTo>
                    <a:pt x="29138" y="394098"/>
                    <a:pt x="28605" y="393646"/>
                    <a:pt x="28088" y="393307"/>
                  </a:cubicBezTo>
                  <a:cubicBezTo>
                    <a:pt x="25068" y="391352"/>
                    <a:pt x="20738" y="392548"/>
                    <a:pt x="18202" y="394664"/>
                  </a:cubicBezTo>
                  <a:cubicBezTo>
                    <a:pt x="15537" y="396877"/>
                    <a:pt x="13550" y="400431"/>
                    <a:pt x="12096" y="405503"/>
                  </a:cubicBezTo>
                  <a:cubicBezTo>
                    <a:pt x="11320" y="408217"/>
                    <a:pt x="11078" y="411513"/>
                    <a:pt x="12710" y="412595"/>
                  </a:cubicBezTo>
                  <a:cubicBezTo>
                    <a:pt x="13550" y="413160"/>
                    <a:pt x="14987" y="413209"/>
                    <a:pt x="16506" y="413257"/>
                  </a:cubicBezTo>
                  <a:lnTo>
                    <a:pt x="17039" y="413257"/>
                  </a:lnTo>
                  <a:cubicBezTo>
                    <a:pt x="28347" y="413709"/>
                    <a:pt x="38686" y="418378"/>
                    <a:pt x="48685" y="422901"/>
                  </a:cubicBezTo>
                  <a:cubicBezTo>
                    <a:pt x="57958" y="427085"/>
                    <a:pt x="66697" y="431027"/>
                    <a:pt x="76163" y="431915"/>
                  </a:cubicBezTo>
                  <a:cubicBezTo>
                    <a:pt x="82140" y="432465"/>
                    <a:pt x="88085" y="431786"/>
                    <a:pt x="94385" y="431043"/>
                  </a:cubicBezTo>
                  <a:cubicBezTo>
                    <a:pt x="98715" y="430542"/>
                    <a:pt x="103189" y="430009"/>
                    <a:pt x="107664" y="429928"/>
                  </a:cubicBezTo>
                  <a:cubicBezTo>
                    <a:pt x="120620" y="429718"/>
                    <a:pt x="131281" y="434161"/>
                    <a:pt x="136709" y="441979"/>
                  </a:cubicBezTo>
                  <a:cubicBezTo>
                    <a:pt x="144237" y="440219"/>
                    <a:pt x="152347" y="441139"/>
                    <a:pt x="159293" y="444596"/>
                  </a:cubicBezTo>
                  <a:cubicBezTo>
                    <a:pt x="160779" y="445340"/>
                    <a:pt x="162621" y="446454"/>
                    <a:pt x="163493" y="448522"/>
                  </a:cubicBezTo>
                  <a:cubicBezTo>
                    <a:pt x="165173" y="452463"/>
                    <a:pt x="162104" y="456066"/>
                    <a:pt x="160957" y="457423"/>
                  </a:cubicBezTo>
                  <a:cubicBezTo>
                    <a:pt x="151070" y="469054"/>
                    <a:pt x="141959" y="473076"/>
                    <a:pt x="133834" y="469393"/>
                  </a:cubicBezTo>
                  <a:cubicBezTo>
                    <a:pt x="132768" y="468908"/>
                    <a:pt x="131782" y="468295"/>
                    <a:pt x="130813" y="467713"/>
                  </a:cubicBezTo>
                  <a:cubicBezTo>
                    <a:pt x="128778" y="466469"/>
                    <a:pt x="127437" y="465726"/>
                    <a:pt x="126354" y="466001"/>
                  </a:cubicBezTo>
                  <a:cubicBezTo>
                    <a:pt x="125030" y="466324"/>
                    <a:pt x="124287" y="468020"/>
                    <a:pt x="123204" y="470766"/>
                  </a:cubicBezTo>
                  <a:cubicBezTo>
                    <a:pt x="122655" y="472156"/>
                    <a:pt x="122090" y="473593"/>
                    <a:pt x="121298" y="474918"/>
                  </a:cubicBezTo>
                  <a:cubicBezTo>
                    <a:pt x="117583" y="481169"/>
                    <a:pt x="109619" y="482914"/>
                    <a:pt x="103399" y="481897"/>
                  </a:cubicBezTo>
                  <a:cubicBezTo>
                    <a:pt x="98278" y="481056"/>
                    <a:pt x="93755" y="478714"/>
                    <a:pt x="89377" y="476469"/>
                  </a:cubicBezTo>
                  <a:cubicBezTo>
                    <a:pt x="88570" y="476049"/>
                    <a:pt x="87762" y="475645"/>
                    <a:pt x="86954" y="475241"/>
                  </a:cubicBezTo>
                  <a:cubicBezTo>
                    <a:pt x="81833" y="472672"/>
                    <a:pt x="75129" y="469878"/>
                    <a:pt x="68636" y="470782"/>
                  </a:cubicBezTo>
                  <a:cubicBezTo>
                    <a:pt x="63272" y="471542"/>
                    <a:pt x="57602" y="476016"/>
                    <a:pt x="57699" y="481460"/>
                  </a:cubicBezTo>
                  <a:cubicBezTo>
                    <a:pt x="57699" y="481961"/>
                    <a:pt x="57764" y="482446"/>
                    <a:pt x="57796" y="482946"/>
                  </a:cubicBezTo>
                  <a:cubicBezTo>
                    <a:pt x="57958" y="484707"/>
                    <a:pt x="58151" y="486904"/>
                    <a:pt x="57069" y="489020"/>
                  </a:cubicBezTo>
                  <a:cubicBezTo>
                    <a:pt x="55615" y="491896"/>
                    <a:pt x="52788" y="492914"/>
                    <a:pt x="50527" y="493721"/>
                  </a:cubicBezTo>
                  <a:cubicBezTo>
                    <a:pt x="49331" y="494158"/>
                    <a:pt x="48200" y="494561"/>
                    <a:pt x="47473" y="495143"/>
                  </a:cubicBezTo>
                  <a:cubicBezTo>
                    <a:pt x="46294" y="496064"/>
                    <a:pt x="45422" y="497954"/>
                    <a:pt x="44582" y="499795"/>
                  </a:cubicBezTo>
                  <a:cubicBezTo>
                    <a:pt x="43063" y="503091"/>
                    <a:pt x="41189" y="507178"/>
                    <a:pt x="36424" y="507501"/>
                  </a:cubicBezTo>
                  <a:cubicBezTo>
                    <a:pt x="31206" y="507889"/>
                    <a:pt x="28557" y="503155"/>
                    <a:pt x="26618" y="499714"/>
                  </a:cubicBezTo>
                  <a:cubicBezTo>
                    <a:pt x="26295" y="499133"/>
                    <a:pt x="25972" y="498551"/>
                    <a:pt x="25633" y="498018"/>
                  </a:cubicBezTo>
                  <a:cubicBezTo>
                    <a:pt x="23791" y="495014"/>
                    <a:pt x="20561" y="492784"/>
                    <a:pt x="16748" y="491880"/>
                  </a:cubicBezTo>
                  <a:cubicBezTo>
                    <a:pt x="12936" y="490975"/>
                    <a:pt x="9043" y="491524"/>
                    <a:pt x="6054" y="493382"/>
                  </a:cubicBezTo>
                  <a:cubicBezTo>
                    <a:pt x="4212" y="494529"/>
                    <a:pt x="2872" y="496015"/>
                    <a:pt x="2274" y="497566"/>
                  </a:cubicBezTo>
                  <a:cubicBezTo>
                    <a:pt x="1127" y="500555"/>
                    <a:pt x="2274" y="503931"/>
                    <a:pt x="3631" y="507840"/>
                  </a:cubicBezTo>
                  <a:cubicBezTo>
                    <a:pt x="4406" y="510102"/>
                    <a:pt x="5214" y="512428"/>
                    <a:pt x="5602" y="514867"/>
                  </a:cubicBezTo>
                  <a:cubicBezTo>
                    <a:pt x="6587" y="521103"/>
                    <a:pt x="4681" y="526950"/>
                    <a:pt x="2807" y="532604"/>
                  </a:cubicBezTo>
                  <a:cubicBezTo>
                    <a:pt x="1289" y="537225"/>
                    <a:pt x="-149" y="541570"/>
                    <a:pt x="12" y="545932"/>
                  </a:cubicBezTo>
                  <a:cubicBezTo>
                    <a:pt x="222" y="551521"/>
                    <a:pt x="3001" y="556658"/>
                    <a:pt x="5941" y="562086"/>
                  </a:cubicBezTo>
                  <a:cubicBezTo>
                    <a:pt x="7960" y="565801"/>
                    <a:pt x="10028" y="569630"/>
                    <a:pt x="11353" y="573781"/>
                  </a:cubicBezTo>
                  <a:cubicBezTo>
                    <a:pt x="11530" y="574347"/>
                    <a:pt x="11676" y="574929"/>
                    <a:pt x="11789" y="575526"/>
                  </a:cubicBezTo>
                  <a:lnTo>
                    <a:pt x="11870" y="57559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0" name="Free-form: Shape 329">
              <a:extLst>
                <a:ext uri="{FF2B5EF4-FFF2-40B4-BE49-F238E27FC236}">
                  <a16:creationId xmlns:a16="http://schemas.microsoft.com/office/drawing/2014/main" id="{AA2E53DF-8DCC-728F-5F40-349AADFF1FD1}"/>
                </a:ext>
              </a:extLst>
            </p:cNvPr>
            <p:cNvSpPr/>
            <p:nvPr/>
          </p:nvSpPr>
          <p:spPr>
            <a:xfrm>
              <a:off x="7178347" y="4064500"/>
              <a:ext cx="294349" cy="285136"/>
            </a:xfrm>
            <a:custGeom>
              <a:avLst/>
              <a:gdLst>
                <a:gd name="connsiteX0" fmla="*/ 284088 w 294349"/>
                <a:gd name="connsiteY0" fmla="*/ 47787 h 285136"/>
                <a:gd name="connsiteX1" fmla="*/ 218066 w 294349"/>
                <a:gd name="connsiteY1" fmla="*/ 62843 h 285136"/>
                <a:gd name="connsiteX2" fmla="*/ 201201 w 294349"/>
                <a:gd name="connsiteY2" fmla="*/ 60532 h 285136"/>
                <a:gd name="connsiteX3" fmla="*/ 194674 w 294349"/>
                <a:gd name="connsiteY3" fmla="*/ 48772 h 285136"/>
                <a:gd name="connsiteX4" fmla="*/ 194303 w 294349"/>
                <a:gd name="connsiteY4" fmla="*/ 47544 h 285136"/>
                <a:gd name="connsiteX5" fmla="*/ 147746 w 294349"/>
                <a:gd name="connsiteY5" fmla="*/ 2377 h 285136"/>
                <a:gd name="connsiteX6" fmla="*/ 84519 w 294349"/>
                <a:gd name="connsiteY6" fmla="*/ 16884 h 285136"/>
                <a:gd name="connsiteX7" fmla="*/ 66620 w 294349"/>
                <a:gd name="connsiteY7" fmla="*/ 37497 h 285136"/>
                <a:gd name="connsiteX8" fmla="*/ 51354 w 294349"/>
                <a:gd name="connsiteY8" fmla="*/ 55751 h 285136"/>
                <a:gd name="connsiteX9" fmla="*/ 0 w 294349"/>
                <a:gd name="connsiteY9" fmla="*/ 86702 h 285136"/>
                <a:gd name="connsiteX10" fmla="*/ 7124 w 294349"/>
                <a:gd name="connsiteY10" fmla="*/ 90854 h 285136"/>
                <a:gd name="connsiteX11" fmla="*/ 14749 w 294349"/>
                <a:gd name="connsiteY11" fmla="*/ 95280 h 285136"/>
                <a:gd name="connsiteX12" fmla="*/ 23149 w 294349"/>
                <a:gd name="connsiteY12" fmla="*/ 109221 h 285136"/>
                <a:gd name="connsiteX13" fmla="*/ 19983 w 294349"/>
                <a:gd name="connsiteY13" fmla="*/ 118284 h 285136"/>
                <a:gd name="connsiteX14" fmla="*/ 10064 w 294349"/>
                <a:gd name="connsiteY14" fmla="*/ 123389 h 285136"/>
                <a:gd name="connsiteX15" fmla="*/ 3344 w 294349"/>
                <a:gd name="connsiteY15" fmla="*/ 127928 h 285136"/>
                <a:gd name="connsiteX16" fmla="*/ 6025 w 294349"/>
                <a:gd name="connsiteY16" fmla="*/ 131611 h 285136"/>
                <a:gd name="connsiteX17" fmla="*/ 40288 w 294349"/>
                <a:gd name="connsiteY17" fmla="*/ 164404 h 285136"/>
                <a:gd name="connsiteX18" fmla="*/ 75343 w 294349"/>
                <a:gd name="connsiteY18" fmla="*/ 189217 h 285136"/>
                <a:gd name="connsiteX19" fmla="*/ 97539 w 294349"/>
                <a:gd name="connsiteY19" fmla="*/ 192690 h 285136"/>
                <a:gd name="connsiteX20" fmla="*/ 121060 w 294349"/>
                <a:gd name="connsiteY20" fmla="*/ 196438 h 285136"/>
                <a:gd name="connsiteX21" fmla="*/ 143449 w 294349"/>
                <a:gd name="connsiteY21" fmla="*/ 217987 h 285136"/>
                <a:gd name="connsiteX22" fmla="*/ 141172 w 294349"/>
                <a:gd name="connsiteY22" fmla="*/ 236048 h 285136"/>
                <a:gd name="connsiteX23" fmla="*/ 138845 w 294349"/>
                <a:gd name="connsiteY23" fmla="*/ 239036 h 285136"/>
                <a:gd name="connsiteX24" fmla="*/ 135211 w 294349"/>
                <a:gd name="connsiteY24" fmla="*/ 246936 h 285136"/>
                <a:gd name="connsiteX25" fmla="*/ 139088 w 294349"/>
                <a:gd name="connsiteY25" fmla="*/ 249408 h 285136"/>
                <a:gd name="connsiteX26" fmla="*/ 148506 w 294349"/>
                <a:gd name="connsiteY26" fmla="*/ 253123 h 285136"/>
                <a:gd name="connsiteX27" fmla="*/ 174401 w 294349"/>
                <a:gd name="connsiteY27" fmla="*/ 267468 h 285136"/>
                <a:gd name="connsiteX28" fmla="*/ 174627 w 294349"/>
                <a:gd name="connsiteY28" fmla="*/ 267775 h 285136"/>
                <a:gd name="connsiteX29" fmla="*/ 184869 w 294349"/>
                <a:gd name="connsiteY29" fmla="*/ 272670 h 285136"/>
                <a:gd name="connsiteX30" fmla="*/ 190587 w 294349"/>
                <a:gd name="connsiteY30" fmla="*/ 277758 h 285136"/>
                <a:gd name="connsiteX31" fmla="*/ 203834 w 294349"/>
                <a:gd name="connsiteY31" fmla="*/ 284931 h 285136"/>
                <a:gd name="connsiteX32" fmla="*/ 204545 w 294349"/>
                <a:gd name="connsiteY32" fmla="*/ 284898 h 285136"/>
                <a:gd name="connsiteX33" fmla="*/ 206984 w 294349"/>
                <a:gd name="connsiteY33" fmla="*/ 276660 h 285136"/>
                <a:gd name="connsiteX34" fmla="*/ 222880 w 294349"/>
                <a:gd name="connsiteY34" fmla="*/ 237405 h 285136"/>
                <a:gd name="connsiteX35" fmla="*/ 226304 w 294349"/>
                <a:gd name="connsiteY35" fmla="*/ 226840 h 285136"/>
                <a:gd name="connsiteX36" fmla="*/ 224398 w 294349"/>
                <a:gd name="connsiteY36" fmla="*/ 224902 h 285136"/>
                <a:gd name="connsiteX37" fmla="*/ 222347 w 294349"/>
                <a:gd name="connsiteY37" fmla="*/ 222963 h 285136"/>
                <a:gd name="connsiteX38" fmla="*/ 222169 w 294349"/>
                <a:gd name="connsiteY38" fmla="*/ 202883 h 285136"/>
                <a:gd name="connsiteX39" fmla="*/ 224543 w 294349"/>
                <a:gd name="connsiteY39" fmla="*/ 198699 h 285136"/>
                <a:gd name="connsiteX40" fmla="*/ 229147 w 294349"/>
                <a:gd name="connsiteY40" fmla="*/ 187747 h 285136"/>
                <a:gd name="connsiteX41" fmla="*/ 227483 w 294349"/>
                <a:gd name="connsiteY41" fmla="*/ 176019 h 285136"/>
                <a:gd name="connsiteX42" fmla="*/ 230278 w 294349"/>
                <a:gd name="connsiteY42" fmla="*/ 155115 h 285136"/>
                <a:gd name="connsiteX43" fmla="*/ 240988 w 294349"/>
                <a:gd name="connsiteY43" fmla="*/ 153048 h 285136"/>
                <a:gd name="connsiteX44" fmla="*/ 254606 w 294349"/>
                <a:gd name="connsiteY44" fmla="*/ 166020 h 285136"/>
                <a:gd name="connsiteX45" fmla="*/ 257256 w 294349"/>
                <a:gd name="connsiteY45" fmla="*/ 176358 h 285136"/>
                <a:gd name="connsiteX46" fmla="*/ 261763 w 294349"/>
                <a:gd name="connsiteY46" fmla="*/ 189960 h 285136"/>
                <a:gd name="connsiteX47" fmla="*/ 264638 w 294349"/>
                <a:gd name="connsiteY47" fmla="*/ 192577 h 285136"/>
                <a:gd name="connsiteX48" fmla="*/ 272085 w 294349"/>
                <a:gd name="connsiteY48" fmla="*/ 186438 h 285136"/>
                <a:gd name="connsiteX49" fmla="*/ 288482 w 294349"/>
                <a:gd name="connsiteY49" fmla="*/ 138105 h 285136"/>
                <a:gd name="connsiteX50" fmla="*/ 286850 w 294349"/>
                <a:gd name="connsiteY50" fmla="*/ 128332 h 285136"/>
                <a:gd name="connsiteX51" fmla="*/ 282909 w 294349"/>
                <a:gd name="connsiteY51" fmla="*/ 126732 h 285136"/>
                <a:gd name="connsiteX52" fmla="*/ 275187 w 294349"/>
                <a:gd name="connsiteY52" fmla="*/ 121773 h 285136"/>
                <a:gd name="connsiteX53" fmla="*/ 274832 w 294349"/>
                <a:gd name="connsiteY53" fmla="*/ 115392 h 285136"/>
                <a:gd name="connsiteX54" fmla="*/ 282812 w 294349"/>
                <a:gd name="connsiteY54" fmla="*/ 107977 h 285136"/>
                <a:gd name="connsiteX55" fmla="*/ 286042 w 294349"/>
                <a:gd name="connsiteY55" fmla="*/ 106911 h 285136"/>
                <a:gd name="connsiteX56" fmla="*/ 292973 w 294349"/>
                <a:gd name="connsiteY56" fmla="*/ 103341 h 285136"/>
                <a:gd name="connsiteX57" fmla="*/ 294346 w 294349"/>
                <a:gd name="connsiteY57" fmla="*/ 96330 h 285136"/>
                <a:gd name="connsiteX58" fmla="*/ 287206 w 294349"/>
                <a:gd name="connsiteY58" fmla="*/ 58529 h 285136"/>
                <a:gd name="connsiteX59" fmla="*/ 284136 w 294349"/>
                <a:gd name="connsiteY59" fmla="*/ 47835 h 285136"/>
                <a:gd name="connsiteX60" fmla="*/ 284088 w 294349"/>
                <a:gd name="connsiteY60" fmla="*/ 47787 h 28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94349" h="285136">
                  <a:moveTo>
                    <a:pt x="284088" y="47787"/>
                  </a:moveTo>
                  <a:cubicBezTo>
                    <a:pt x="262490" y="54216"/>
                    <a:pt x="240294" y="59289"/>
                    <a:pt x="218066" y="62843"/>
                  </a:cubicBezTo>
                  <a:cubicBezTo>
                    <a:pt x="214027" y="63489"/>
                    <a:pt x="206531" y="64684"/>
                    <a:pt x="201201" y="60532"/>
                  </a:cubicBezTo>
                  <a:cubicBezTo>
                    <a:pt x="197340" y="57528"/>
                    <a:pt x="195918" y="52875"/>
                    <a:pt x="194674" y="48772"/>
                  </a:cubicBezTo>
                  <a:lnTo>
                    <a:pt x="194303" y="47544"/>
                  </a:lnTo>
                  <a:cubicBezTo>
                    <a:pt x="187615" y="26140"/>
                    <a:pt x="169344" y="8403"/>
                    <a:pt x="147746" y="2377"/>
                  </a:cubicBezTo>
                  <a:cubicBezTo>
                    <a:pt x="126148" y="-3664"/>
                    <a:pt x="101335" y="2038"/>
                    <a:pt x="84519" y="16884"/>
                  </a:cubicBezTo>
                  <a:cubicBezTo>
                    <a:pt x="77750" y="22861"/>
                    <a:pt x="72096" y="30292"/>
                    <a:pt x="66620" y="37497"/>
                  </a:cubicBezTo>
                  <a:cubicBezTo>
                    <a:pt x="61903" y="43700"/>
                    <a:pt x="57024" y="50113"/>
                    <a:pt x="51354" y="55751"/>
                  </a:cubicBezTo>
                  <a:cubicBezTo>
                    <a:pt x="36848" y="70193"/>
                    <a:pt x="17592" y="79077"/>
                    <a:pt x="0" y="86702"/>
                  </a:cubicBezTo>
                  <a:cubicBezTo>
                    <a:pt x="2116" y="88253"/>
                    <a:pt x="4572" y="89529"/>
                    <a:pt x="7124" y="90854"/>
                  </a:cubicBezTo>
                  <a:cubicBezTo>
                    <a:pt x="9676" y="92179"/>
                    <a:pt x="12309" y="93536"/>
                    <a:pt x="14749" y="95280"/>
                  </a:cubicBezTo>
                  <a:cubicBezTo>
                    <a:pt x="19353" y="98560"/>
                    <a:pt x="22729" y="104165"/>
                    <a:pt x="23149" y="109221"/>
                  </a:cubicBezTo>
                  <a:cubicBezTo>
                    <a:pt x="23440" y="112791"/>
                    <a:pt x="22341" y="115925"/>
                    <a:pt x="19983" y="118284"/>
                  </a:cubicBezTo>
                  <a:cubicBezTo>
                    <a:pt x="17333" y="120917"/>
                    <a:pt x="13473" y="122225"/>
                    <a:pt x="10064" y="123389"/>
                  </a:cubicBezTo>
                  <a:cubicBezTo>
                    <a:pt x="4442" y="125295"/>
                    <a:pt x="3118" y="126183"/>
                    <a:pt x="3344" y="127928"/>
                  </a:cubicBezTo>
                  <a:cubicBezTo>
                    <a:pt x="3506" y="129107"/>
                    <a:pt x="4701" y="130335"/>
                    <a:pt x="6025" y="131611"/>
                  </a:cubicBezTo>
                  <a:lnTo>
                    <a:pt x="40288" y="164404"/>
                  </a:lnTo>
                  <a:cubicBezTo>
                    <a:pt x="50240" y="173935"/>
                    <a:pt x="61531" y="184742"/>
                    <a:pt x="75343" y="189217"/>
                  </a:cubicBezTo>
                  <a:cubicBezTo>
                    <a:pt x="82370" y="191495"/>
                    <a:pt x="89737" y="192076"/>
                    <a:pt x="97539" y="192690"/>
                  </a:cubicBezTo>
                  <a:cubicBezTo>
                    <a:pt x="105325" y="193304"/>
                    <a:pt x="113370" y="193950"/>
                    <a:pt x="121060" y="196438"/>
                  </a:cubicBezTo>
                  <a:cubicBezTo>
                    <a:pt x="131108" y="199685"/>
                    <a:pt x="140315" y="208553"/>
                    <a:pt x="143449" y="217987"/>
                  </a:cubicBezTo>
                  <a:cubicBezTo>
                    <a:pt x="145646" y="224595"/>
                    <a:pt x="144855" y="230830"/>
                    <a:pt x="141172" y="236048"/>
                  </a:cubicBezTo>
                  <a:cubicBezTo>
                    <a:pt x="140477" y="237033"/>
                    <a:pt x="139669" y="238035"/>
                    <a:pt x="138845" y="239036"/>
                  </a:cubicBezTo>
                  <a:cubicBezTo>
                    <a:pt x="135954" y="242590"/>
                    <a:pt x="134145" y="245062"/>
                    <a:pt x="135211" y="246936"/>
                  </a:cubicBezTo>
                  <a:cubicBezTo>
                    <a:pt x="135808" y="247970"/>
                    <a:pt x="137311" y="248664"/>
                    <a:pt x="139088" y="249408"/>
                  </a:cubicBezTo>
                  <a:cubicBezTo>
                    <a:pt x="142496" y="250829"/>
                    <a:pt x="145614" y="252008"/>
                    <a:pt x="148506" y="253123"/>
                  </a:cubicBezTo>
                  <a:cubicBezTo>
                    <a:pt x="158182" y="256806"/>
                    <a:pt x="165823" y="259730"/>
                    <a:pt x="174401" y="267468"/>
                  </a:cubicBezTo>
                  <a:cubicBezTo>
                    <a:pt x="174498" y="267549"/>
                    <a:pt x="174546" y="267678"/>
                    <a:pt x="174627" y="267775"/>
                  </a:cubicBezTo>
                  <a:cubicBezTo>
                    <a:pt x="178181" y="268696"/>
                    <a:pt x="181654" y="270230"/>
                    <a:pt x="184869" y="272670"/>
                  </a:cubicBezTo>
                  <a:cubicBezTo>
                    <a:pt x="186856" y="274188"/>
                    <a:pt x="188746" y="275997"/>
                    <a:pt x="190587" y="277758"/>
                  </a:cubicBezTo>
                  <a:cubicBezTo>
                    <a:pt x="195967" y="282928"/>
                    <a:pt x="199521" y="285981"/>
                    <a:pt x="203834" y="284931"/>
                  </a:cubicBezTo>
                  <a:cubicBezTo>
                    <a:pt x="204076" y="284866"/>
                    <a:pt x="204318" y="284898"/>
                    <a:pt x="204545" y="284898"/>
                  </a:cubicBezTo>
                  <a:cubicBezTo>
                    <a:pt x="205368" y="282184"/>
                    <a:pt x="206176" y="279438"/>
                    <a:pt x="206984" y="276660"/>
                  </a:cubicBezTo>
                  <a:cubicBezTo>
                    <a:pt x="210925" y="263171"/>
                    <a:pt x="214996" y="249230"/>
                    <a:pt x="222880" y="237405"/>
                  </a:cubicBezTo>
                  <a:cubicBezTo>
                    <a:pt x="225497" y="233480"/>
                    <a:pt x="227920" y="229409"/>
                    <a:pt x="226304" y="226840"/>
                  </a:cubicBezTo>
                  <a:cubicBezTo>
                    <a:pt x="225900" y="226194"/>
                    <a:pt x="225206" y="225596"/>
                    <a:pt x="224398" y="224902"/>
                  </a:cubicBezTo>
                  <a:cubicBezTo>
                    <a:pt x="223752" y="224336"/>
                    <a:pt x="223009" y="223706"/>
                    <a:pt x="222347" y="222963"/>
                  </a:cubicBezTo>
                  <a:cubicBezTo>
                    <a:pt x="218146" y="218230"/>
                    <a:pt x="218082" y="210734"/>
                    <a:pt x="222169" y="202883"/>
                  </a:cubicBezTo>
                  <a:cubicBezTo>
                    <a:pt x="222912" y="201478"/>
                    <a:pt x="223720" y="200089"/>
                    <a:pt x="224543" y="198699"/>
                  </a:cubicBezTo>
                  <a:cubicBezTo>
                    <a:pt x="226724" y="195000"/>
                    <a:pt x="228776" y="191511"/>
                    <a:pt x="229147" y="187747"/>
                  </a:cubicBezTo>
                  <a:cubicBezTo>
                    <a:pt x="229503" y="184209"/>
                    <a:pt x="228485" y="180041"/>
                    <a:pt x="227483" y="176019"/>
                  </a:cubicBezTo>
                  <a:cubicBezTo>
                    <a:pt x="225690" y="168749"/>
                    <a:pt x="223671" y="160495"/>
                    <a:pt x="230278" y="155115"/>
                  </a:cubicBezTo>
                  <a:cubicBezTo>
                    <a:pt x="233234" y="152708"/>
                    <a:pt x="237047" y="151965"/>
                    <a:pt x="240988" y="153048"/>
                  </a:cubicBezTo>
                  <a:cubicBezTo>
                    <a:pt x="246739" y="154615"/>
                    <a:pt x="252345" y="159946"/>
                    <a:pt x="254606" y="166020"/>
                  </a:cubicBezTo>
                  <a:cubicBezTo>
                    <a:pt x="255866" y="169412"/>
                    <a:pt x="256577" y="172933"/>
                    <a:pt x="257256" y="176358"/>
                  </a:cubicBezTo>
                  <a:cubicBezTo>
                    <a:pt x="258257" y="181366"/>
                    <a:pt x="259194" y="186099"/>
                    <a:pt x="261763" y="189960"/>
                  </a:cubicBezTo>
                  <a:cubicBezTo>
                    <a:pt x="262732" y="191414"/>
                    <a:pt x="263701" y="192286"/>
                    <a:pt x="264638" y="192577"/>
                  </a:cubicBezTo>
                  <a:cubicBezTo>
                    <a:pt x="267239" y="193336"/>
                    <a:pt x="270195" y="189895"/>
                    <a:pt x="272085" y="186438"/>
                  </a:cubicBezTo>
                  <a:cubicBezTo>
                    <a:pt x="280340" y="171350"/>
                    <a:pt x="285865" y="155099"/>
                    <a:pt x="288482" y="138105"/>
                  </a:cubicBezTo>
                  <a:cubicBezTo>
                    <a:pt x="289273" y="132984"/>
                    <a:pt x="288740" y="129786"/>
                    <a:pt x="286850" y="128332"/>
                  </a:cubicBezTo>
                  <a:cubicBezTo>
                    <a:pt x="285897" y="127605"/>
                    <a:pt x="284443" y="127169"/>
                    <a:pt x="282909" y="126732"/>
                  </a:cubicBezTo>
                  <a:cubicBezTo>
                    <a:pt x="280243" y="125957"/>
                    <a:pt x="276915" y="124988"/>
                    <a:pt x="275187" y="121773"/>
                  </a:cubicBezTo>
                  <a:cubicBezTo>
                    <a:pt x="274121" y="119802"/>
                    <a:pt x="273991" y="117589"/>
                    <a:pt x="274832" y="115392"/>
                  </a:cubicBezTo>
                  <a:cubicBezTo>
                    <a:pt x="276011" y="112258"/>
                    <a:pt x="279145" y="109350"/>
                    <a:pt x="282812" y="107977"/>
                  </a:cubicBezTo>
                  <a:cubicBezTo>
                    <a:pt x="283862" y="107590"/>
                    <a:pt x="284944" y="107251"/>
                    <a:pt x="286042" y="106911"/>
                  </a:cubicBezTo>
                  <a:cubicBezTo>
                    <a:pt x="288902" y="106039"/>
                    <a:pt x="291600" y="105215"/>
                    <a:pt x="292973" y="103341"/>
                  </a:cubicBezTo>
                  <a:cubicBezTo>
                    <a:pt x="294249" y="101613"/>
                    <a:pt x="294378" y="98947"/>
                    <a:pt x="294346" y="96330"/>
                  </a:cubicBezTo>
                  <a:cubicBezTo>
                    <a:pt x="294168" y="85879"/>
                    <a:pt x="292746" y="71340"/>
                    <a:pt x="287206" y="58529"/>
                  </a:cubicBezTo>
                  <a:cubicBezTo>
                    <a:pt x="284653" y="55573"/>
                    <a:pt x="283845" y="51696"/>
                    <a:pt x="284136" y="47835"/>
                  </a:cubicBezTo>
                  <a:lnTo>
                    <a:pt x="284088" y="4778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1" name="Free-form: Shape 330">
              <a:extLst>
                <a:ext uri="{FF2B5EF4-FFF2-40B4-BE49-F238E27FC236}">
                  <a16:creationId xmlns:a16="http://schemas.microsoft.com/office/drawing/2014/main" id="{D4E0C5F7-A4DB-5DC5-024F-92F2F55E94AB}"/>
                </a:ext>
              </a:extLst>
            </p:cNvPr>
            <p:cNvSpPr/>
            <p:nvPr/>
          </p:nvSpPr>
          <p:spPr>
            <a:xfrm>
              <a:off x="5360564" y="2285085"/>
              <a:ext cx="6591" cy="17897"/>
            </a:xfrm>
            <a:custGeom>
              <a:avLst/>
              <a:gdLst>
                <a:gd name="connsiteX0" fmla="*/ 2955 w 6591"/>
                <a:gd name="connsiteY0" fmla="*/ 17834 h 17897"/>
                <a:gd name="connsiteX1" fmla="*/ 3569 w 6591"/>
                <a:gd name="connsiteY1" fmla="*/ 17802 h 17897"/>
                <a:gd name="connsiteX2" fmla="*/ 5895 w 6591"/>
                <a:gd name="connsiteY2" fmla="*/ 14797 h 17897"/>
                <a:gd name="connsiteX3" fmla="*/ 3359 w 6591"/>
                <a:gd name="connsiteY3" fmla="*/ 307 h 17897"/>
                <a:gd name="connsiteX4" fmla="*/ 2939 w 6591"/>
                <a:gd name="connsiteY4" fmla="*/ 0 h 17897"/>
                <a:gd name="connsiteX5" fmla="*/ 887 w 6591"/>
                <a:gd name="connsiteY5" fmla="*/ 2520 h 17897"/>
                <a:gd name="connsiteX6" fmla="*/ 1889 w 6591"/>
                <a:gd name="connsiteY6" fmla="*/ 16332 h 17897"/>
                <a:gd name="connsiteX7" fmla="*/ 2955 w 6591"/>
                <a:gd name="connsiteY7" fmla="*/ 17818 h 17897"/>
                <a:gd name="connsiteX8" fmla="*/ 2955 w 6591"/>
                <a:gd name="connsiteY8" fmla="*/ 17834 h 1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91" h="17897">
                  <a:moveTo>
                    <a:pt x="2955" y="17834"/>
                  </a:moveTo>
                  <a:cubicBezTo>
                    <a:pt x="3052" y="17883"/>
                    <a:pt x="3197" y="17963"/>
                    <a:pt x="3569" y="17802"/>
                  </a:cubicBezTo>
                  <a:cubicBezTo>
                    <a:pt x="4538" y="17382"/>
                    <a:pt x="5556" y="16073"/>
                    <a:pt x="5895" y="14797"/>
                  </a:cubicBezTo>
                  <a:cubicBezTo>
                    <a:pt x="7317" y="9499"/>
                    <a:pt x="6606" y="2229"/>
                    <a:pt x="3359" y="307"/>
                  </a:cubicBezTo>
                  <a:cubicBezTo>
                    <a:pt x="3214" y="226"/>
                    <a:pt x="3068" y="113"/>
                    <a:pt x="2939" y="0"/>
                  </a:cubicBezTo>
                  <a:cubicBezTo>
                    <a:pt x="2357" y="275"/>
                    <a:pt x="1275" y="1325"/>
                    <a:pt x="887" y="2520"/>
                  </a:cubicBezTo>
                  <a:cubicBezTo>
                    <a:pt x="-583" y="7043"/>
                    <a:pt x="-211" y="12067"/>
                    <a:pt x="1889" y="16332"/>
                  </a:cubicBezTo>
                  <a:cubicBezTo>
                    <a:pt x="2293" y="17156"/>
                    <a:pt x="2648" y="17657"/>
                    <a:pt x="2955" y="17818"/>
                  </a:cubicBezTo>
                  <a:lnTo>
                    <a:pt x="2955" y="1783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2" name="Free-form: Shape 331">
              <a:extLst>
                <a:ext uri="{FF2B5EF4-FFF2-40B4-BE49-F238E27FC236}">
                  <a16:creationId xmlns:a16="http://schemas.microsoft.com/office/drawing/2014/main" id="{E69313B4-F0F8-4A1E-D334-F639589F31D2}"/>
                </a:ext>
              </a:extLst>
            </p:cNvPr>
            <p:cNvSpPr/>
            <p:nvPr/>
          </p:nvSpPr>
          <p:spPr>
            <a:xfrm>
              <a:off x="6193697" y="3873140"/>
              <a:ext cx="1148615" cy="923466"/>
            </a:xfrm>
            <a:custGeom>
              <a:avLst/>
              <a:gdLst>
                <a:gd name="connsiteX0" fmla="*/ 993987 w 1148615"/>
                <a:gd name="connsiteY0" fmla="*/ 563976 h 923466"/>
                <a:gd name="connsiteX1" fmla="*/ 996346 w 1148615"/>
                <a:gd name="connsiteY1" fmla="*/ 563378 h 923466"/>
                <a:gd name="connsiteX2" fmla="*/ 1008171 w 1148615"/>
                <a:gd name="connsiteY2" fmla="*/ 558677 h 923466"/>
                <a:gd name="connsiteX3" fmla="*/ 1014535 w 1148615"/>
                <a:gd name="connsiteY3" fmla="*/ 550648 h 923466"/>
                <a:gd name="connsiteX4" fmla="*/ 1051884 w 1148615"/>
                <a:gd name="connsiteY4" fmla="*/ 497663 h 923466"/>
                <a:gd name="connsiteX5" fmla="*/ 1063790 w 1148615"/>
                <a:gd name="connsiteY5" fmla="*/ 486548 h 923466"/>
                <a:gd name="connsiteX6" fmla="*/ 1078668 w 1148615"/>
                <a:gd name="connsiteY6" fmla="*/ 483544 h 923466"/>
                <a:gd name="connsiteX7" fmla="*/ 1084419 w 1148615"/>
                <a:gd name="connsiteY7" fmla="*/ 483059 h 923466"/>
                <a:gd name="connsiteX8" fmla="*/ 1113383 w 1148615"/>
                <a:gd name="connsiteY8" fmla="*/ 471008 h 923466"/>
                <a:gd name="connsiteX9" fmla="*/ 1124045 w 1148615"/>
                <a:gd name="connsiteY9" fmla="*/ 465144 h 923466"/>
                <a:gd name="connsiteX10" fmla="*/ 1148615 w 1148615"/>
                <a:gd name="connsiteY10" fmla="*/ 458101 h 923466"/>
                <a:gd name="connsiteX11" fmla="*/ 1131040 w 1148615"/>
                <a:gd name="connsiteY11" fmla="*/ 449879 h 923466"/>
                <a:gd name="connsiteX12" fmla="*/ 1121460 w 1148615"/>
                <a:gd name="connsiteY12" fmla="*/ 446098 h 923466"/>
                <a:gd name="connsiteX13" fmla="*/ 1114772 w 1148615"/>
                <a:gd name="connsiteY13" fmla="*/ 441155 h 923466"/>
                <a:gd name="connsiteX14" fmla="*/ 1118940 w 1148615"/>
                <a:gd name="connsiteY14" fmla="*/ 426713 h 923466"/>
                <a:gd name="connsiteX15" fmla="*/ 1121040 w 1148615"/>
                <a:gd name="connsiteY15" fmla="*/ 424032 h 923466"/>
                <a:gd name="connsiteX16" fmla="*/ 1122542 w 1148615"/>
                <a:gd name="connsiteY16" fmla="*/ 411157 h 923466"/>
                <a:gd name="connsiteX17" fmla="*/ 1103884 w 1148615"/>
                <a:gd name="connsiteY17" fmla="*/ 393290 h 923466"/>
                <a:gd name="connsiteX18" fmla="*/ 1081688 w 1148615"/>
                <a:gd name="connsiteY18" fmla="*/ 389817 h 923466"/>
                <a:gd name="connsiteX19" fmla="*/ 1058168 w 1148615"/>
                <a:gd name="connsiteY19" fmla="*/ 386069 h 923466"/>
                <a:gd name="connsiteX20" fmla="*/ 1020900 w 1148615"/>
                <a:gd name="connsiteY20" fmla="*/ 359932 h 923466"/>
                <a:gd name="connsiteX21" fmla="*/ 986637 w 1148615"/>
                <a:gd name="connsiteY21" fmla="*/ 327139 h 923466"/>
                <a:gd name="connsiteX22" fmla="*/ 982211 w 1148615"/>
                <a:gd name="connsiteY22" fmla="*/ 320015 h 923466"/>
                <a:gd name="connsiteX23" fmla="*/ 992824 w 1148615"/>
                <a:gd name="connsiteY23" fmla="*/ 309224 h 923466"/>
                <a:gd name="connsiteX24" fmla="*/ 1000514 w 1148615"/>
                <a:gd name="connsiteY24" fmla="*/ 305508 h 923466"/>
                <a:gd name="connsiteX25" fmla="*/ 1002000 w 1148615"/>
                <a:gd name="connsiteY25" fmla="*/ 301034 h 923466"/>
                <a:gd name="connsiteX26" fmla="*/ 996007 w 1148615"/>
                <a:gd name="connsiteY26" fmla="*/ 291341 h 923466"/>
                <a:gd name="connsiteX27" fmla="*/ 989076 w 1148615"/>
                <a:gd name="connsiteY27" fmla="*/ 287351 h 923466"/>
                <a:gd name="connsiteX28" fmla="*/ 979109 w 1148615"/>
                <a:gd name="connsiteY28" fmla="*/ 281019 h 923466"/>
                <a:gd name="connsiteX29" fmla="*/ 943522 w 1148615"/>
                <a:gd name="connsiteY29" fmla="*/ 287303 h 923466"/>
                <a:gd name="connsiteX30" fmla="*/ 935670 w 1148615"/>
                <a:gd name="connsiteY30" fmla="*/ 286866 h 923466"/>
                <a:gd name="connsiteX31" fmla="*/ 878565 w 1148615"/>
                <a:gd name="connsiteY31" fmla="*/ 307140 h 923466"/>
                <a:gd name="connsiteX32" fmla="*/ 876417 w 1148615"/>
                <a:gd name="connsiteY32" fmla="*/ 309078 h 923466"/>
                <a:gd name="connsiteX33" fmla="*/ 864334 w 1148615"/>
                <a:gd name="connsiteY33" fmla="*/ 317543 h 923466"/>
                <a:gd name="connsiteX34" fmla="*/ 854916 w 1148615"/>
                <a:gd name="connsiteY34" fmla="*/ 319142 h 923466"/>
                <a:gd name="connsiteX35" fmla="*/ 842881 w 1148615"/>
                <a:gd name="connsiteY35" fmla="*/ 317721 h 923466"/>
                <a:gd name="connsiteX36" fmla="*/ 741303 w 1148615"/>
                <a:gd name="connsiteY36" fmla="*/ 299224 h 923466"/>
                <a:gd name="connsiteX37" fmla="*/ 721223 w 1148615"/>
                <a:gd name="connsiteY37" fmla="*/ 286866 h 923466"/>
                <a:gd name="connsiteX38" fmla="*/ 720222 w 1148615"/>
                <a:gd name="connsiteY38" fmla="*/ 280276 h 923466"/>
                <a:gd name="connsiteX39" fmla="*/ 719010 w 1148615"/>
                <a:gd name="connsiteY39" fmla="*/ 274250 h 923466"/>
                <a:gd name="connsiteX40" fmla="*/ 710110 w 1148615"/>
                <a:gd name="connsiteY40" fmla="*/ 270276 h 923466"/>
                <a:gd name="connsiteX41" fmla="*/ 699318 w 1148615"/>
                <a:gd name="connsiteY41" fmla="*/ 266237 h 923466"/>
                <a:gd name="connsiteX42" fmla="*/ 695135 w 1148615"/>
                <a:gd name="connsiteY42" fmla="*/ 244252 h 923466"/>
                <a:gd name="connsiteX43" fmla="*/ 695361 w 1148615"/>
                <a:gd name="connsiteY43" fmla="*/ 229180 h 923466"/>
                <a:gd name="connsiteX44" fmla="*/ 687316 w 1148615"/>
                <a:gd name="connsiteY44" fmla="*/ 222088 h 923466"/>
                <a:gd name="connsiteX45" fmla="*/ 665928 w 1148615"/>
                <a:gd name="connsiteY45" fmla="*/ 226482 h 923466"/>
                <a:gd name="connsiteX46" fmla="*/ 652794 w 1148615"/>
                <a:gd name="connsiteY46" fmla="*/ 240261 h 923466"/>
                <a:gd name="connsiteX47" fmla="*/ 638417 w 1148615"/>
                <a:gd name="connsiteY47" fmla="*/ 255188 h 923466"/>
                <a:gd name="connsiteX48" fmla="*/ 573574 w 1148615"/>
                <a:gd name="connsiteY48" fmla="*/ 258516 h 923466"/>
                <a:gd name="connsiteX49" fmla="*/ 547017 w 1148615"/>
                <a:gd name="connsiteY49" fmla="*/ 246012 h 923466"/>
                <a:gd name="connsiteX50" fmla="*/ 514757 w 1148615"/>
                <a:gd name="connsiteY50" fmla="*/ 231554 h 923466"/>
                <a:gd name="connsiteX51" fmla="*/ 468556 w 1148615"/>
                <a:gd name="connsiteY51" fmla="*/ 223800 h 923466"/>
                <a:gd name="connsiteX52" fmla="*/ 436522 w 1148615"/>
                <a:gd name="connsiteY52" fmla="*/ 219713 h 923466"/>
                <a:gd name="connsiteX53" fmla="*/ 408769 w 1148615"/>
                <a:gd name="connsiteY53" fmla="*/ 200878 h 923466"/>
                <a:gd name="connsiteX54" fmla="*/ 420820 w 1148615"/>
                <a:gd name="connsiteY54" fmla="*/ 170168 h 923466"/>
                <a:gd name="connsiteX55" fmla="*/ 433372 w 1148615"/>
                <a:gd name="connsiteY55" fmla="*/ 149119 h 923466"/>
                <a:gd name="connsiteX56" fmla="*/ 424018 w 1148615"/>
                <a:gd name="connsiteY56" fmla="*/ 121350 h 923466"/>
                <a:gd name="connsiteX57" fmla="*/ 381291 w 1148615"/>
                <a:gd name="connsiteY57" fmla="*/ 73905 h 923466"/>
                <a:gd name="connsiteX58" fmla="*/ 323200 w 1148615"/>
                <a:gd name="connsiteY58" fmla="*/ 64084 h 923466"/>
                <a:gd name="connsiteX59" fmla="*/ 273332 w 1148615"/>
                <a:gd name="connsiteY59" fmla="*/ 58446 h 923466"/>
                <a:gd name="connsiteX60" fmla="*/ 218230 w 1148615"/>
                <a:gd name="connsiteY60" fmla="*/ 0 h 923466"/>
                <a:gd name="connsiteX61" fmla="*/ 211364 w 1148615"/>
                <a:gd name="connsiteY61" fmla="*/ 2617 h 923466"/>
                <a:gd name="connsiteX62" fmla="*/ 206841 w 1148615"/>
                <a:gd name="connsiteY62" fmla="*/ 4006 h 923466"/>
                <a:gd name="connsiteX63" fmla="*/ 151352 w 1148615"/>
                <a:gd name="connsiteY63" fmla="*/ 26832 h 923466"/>
                <a:gd name="connsiteX64" fmla="*/ 126490 w 1148615"/>
                <a:gd name="connsiteY64" fmla="*/ 46928 h 923466"/>
                <a:gd name="connsiteX65" fmla="*/ 98414 w 1148615"/>
                <a:gd name="connsiteY65" fmla="*/ 72032 h 923466"/>
                <a:gd name="connsiteX66" fmla="*/ 16222 w 1148615"/>
                <a:gd name="connsiteY66" fmla="*/ 176129 h 923466"/>
                <a:gd name="connsiteX67" fmla="*/ 13960 w 1148615"/>
                <a:gd name="connsiteY67" fmla="*/ 191799 h 923466"/>
                <a:gd name="connsiteX68" fmla="*/ 15608 w 1148615"/>
                <a:gd name="connsiteY68" fmla="*/ 197937 h 923466"/>
                <a:gd name="connsiteX69" fmla="*/ 17320 w 1148615"/>
                <a:gd name="connsiteY69" fmla="*/ 204060 h 923466"/>
                <a:gd name="connsiteX70" fmla="*/ 13346 w 1148615"/>
                <a:gd name="connsiteY70" fmla="*/ 230262 h 923466"/>
                <a:gd name="connsiteX71" fmla="*/ 3234 w 1148615"/>
                <a:gd name="connsiteY71" fmla="*/ 259970 h 923466"/>
                <a:gd name="connsiteX72" fmla="*/ 3 w 1148615"/>
                <a:gd name="connsiteY72" fmla="*/ 274638 h 923466"/>
                <a:gd name="connsiteX73" fmla="*/ 12248 w 1148615"/>
                <a:gd name="connsiteY73" fmla="*/ 299596 h 923466"/>
                <a:gd name="connsiteX74" fmla="*/ 25753 w 1148615"/>
                <a:gd name="connsiteY74" fmla="*/ 326913 h 923466"/>
                <a:gd name="connsiteX75" fmla="*/ 25494 w 1148615"/>
                <a:gd name="connsiteY75" fmla="*/ 334715 h 923466"/>
                <a:gd name="connsiteX76" fmla="*/ 25381 w 1148615"/>
                <a:gd name="connsiteY76" fmla="*/ 342954 h 923466"/>
                <a:gd name="connsiteX77" fmla="*/ 29953 w 1148615"/>
                <a:gd name="connsiteY77" fmla="*/ 354633 h 923466"/>
                <a:gd name="connsiteX78" fmla="*/ 33991 w 1148615"/>
                <a:gd name="connsiteY78" fmla="*/ 373485 h 923466"/>
                <a:gd name="connsiteX79" fmla="*/ 33814 w 1148615"/>
                <a:gd name="connsiteY79" fmla="*/ 373970 h 923466"/>
                <a:gd name="connsiteX80" fmla="*/ 34476 w 1148615"/>
                <a:gd name="connsiteY80" fmla="*/ 378541 h 923466"/>
                <a:gd name="connsiteX81" fmla="*/ 35106 w 1148615"/>
                <a:gd name="connsiteY81" fmla="*/ 386295 h 923466"/>
                <a:gd name="connsiteX82" fmla="*/ 27158 w 1148615"/>
                <a:gd name="connsiteY82" fmla="*/ 428830 h 923466"/>
                <a:gd name="connsiteX83" fmla="*/ 24573 w 1148615"/>
                <a:gd name="connsiteY83" fmla="*/ 435437 h 923466"/>
                <a:gd name="connsiteX84" fmla="*/ 8694 w 1148615"/>
                <a:gd name="connsiteY84" fmla="*/ 469474 h 923466"/>
                <a:gd name="connsiteX85" fmla="*/ 67 w 1148615"/>
                <a:gd name="connsiteY85" fmla="*/ 486597 h 923466"/>
                <a:gd name="connsiteX86" fmla="*/ 14380 w 1148615"/>
                <a:gd name="connsiteY86" fmla="*/ 511345 h 923466"/>
                <a:gd name="connsiteX87" fmla="*/ 18532 w 1148615"/>
                <a:gd name="connsiteY87" fmla="*/ 542200 h 923466"/>
                <a:gd name="connsiteX88" fmla="*/ 22070 w 1148615"/>
                <a:gd name="connsiteY88" fmla="*/ 570453 h 923466"/>
                <a:gd name="connsiteX89" fmla="*/ 57609 w 1148615"/>
                <a:gd name="connsiteY89" fmla="*/ 618270 h 923466"/>
                <a:gd name="connsiteX90" fmla="*/ 83876 w 1148615"/>
                <a:gd name="connsiteY90" fmla="*/ 646701 h 923466"/>
                <a:gd name="connsiteX91" fmla="*/ 90240 w 1148615"/>
                <a:gd name="connsiteY91" fmla="*/ 662710 h 923466"/>
                <a:gd name="connsiteX92" fmla="*/ 88899 w 1148615"/>
                <a:gd name="connsiteY92" fmla="*/ 670400 h 923466"/>
                <a:gd name="connsiteX93" fmla="*/ 87785 w 1148615"/>
                <a:gd name="connsiteY93" fmla="*/ 677459 h 923466"/>
                <a:gd name="connsiteX94" fmla="*/ 99561 w 1148615"/>
                <a:gd name="connsiteY94" fmla="*/ 691271 h 923466"/>
                <a:gd name="connsiteX95" fmla="*/ 111467 w 1148615"/>
                <a:gd name="connsiteY95" fmla="*/ 701739 h 923466"/>
                <a:gd name="connsiteX96" fmla="*/ 115085 w 1148615"/>
                <a:gd name="connsiteY96" fmla="*/ 731705 h 923466"/>
                <a:gd name="connsiteX97" fmla="*/ 115683 w 1148615"/>
                <a:gd name="connsiteY97" fmla="*/ 754547 h 923466"/>
                <a:gd name="connsiteX98" fmla="*/ 138364 w 1148615"/>
                <a:gd name="connsiteY98" fmla="*/ 766032 h 923466"/>
                <a:gd name="connsiteX99" fmla="*/ 140851 w 1148615"/>
                <a:gd name="connsiteY99" fmla="*/ 769942 h 923466"/>
                <a:gd name="connsiteX100" fmla="*/ 146182 w 1148615"/>
                <a:gd name="connsiteY100" fmla="*/ 776629 h 923466"/>
                <a:gd name="connsiteX101" fmla="*/ 168249 w 1148615"/>
                <a:gd name="connsiteY101" fmla="*/ 768714 h 923466"/>
                <a:gd name="connsiteX102" fmla="*/ 183111 w 1148615"/>
                <a:gd name="connsiteY102" fmla="*/ 745000 h 923466"/>
                <a:gd name="connsiteX103" fmla="*/ 181851 w 1148615"/>
                <a:gd name="connsiteY103" fmla="*/ 736874 h 923466"/>
                <a:gd name="connsiteX104" fmla="*/ 183030 w 1148615"/>
                <a:gd name="connsiteY104" fmla="*/ 719137 h 923466"/>
                <a:gd name="connsiteX105" fmla="*/ 192254 w 1148615"/>
                <a:gd name="connsiteY105" fmla="*/ 713903 h 923466"/>
                <a:gd name="connsiteX106" fmla="*/ 206340 w 1148615"/>
                <a:gd name="connsiteY106" fmla="*/ 718248 h 923466"/>
                <a:gd name="connsiteX107" fmla="*/ 217196 w 1148615"/>
                <a:gd name="connsiteY107" fmla="*/ 737569 h 923466"/>
                <a:gd name="connsiteX108" fmla="*/ 217374 w 1148615"/>
                <a:gd name="connsiteY108" fmla="*/ 738069 h 923466"/>
                <a:gd name="connsiteX109" fmla="*/ 221606 w 1148615"/>
                <a:gd name="connsiteY109" fmla="*/ 746357 h 923466"/>
                <a:gd name="connsiteX110" fmla="*/ 237453 w 1148615"/>
                <a:gd name="connsiteY110" fmla="*/ 748812 h 923466"/>
                <a:gd name="connsiteX111" fmla="*/ 251734 w 1148615"/>
                <a:gd name="connsiteY111" fmla="*/ 739055 h 923466"/>
                <a:gd name="connsiteX112" fmla="*/ 246823 w 1148615"/>
                <a:gd name="connsiteY112" fmla="*/ 721915 h 923466"/>
                <a:gd name="connsiteX113" fmla="*/ 247615 w 1148615"/>
                <a:gd name="connsiteY113" fmla="*/ 719040 h 923466"/>
                <a:gd name="connsiteX114" fmla="*/ 250522 w 1148615"/>
                <a:gd name="connsiteY114" fmla="*/ 718378 h 923466"/>
                <a:gd name="connsiteX115" fmla="*/ 263672 w 1148615"/>
                <a:gd name="connsiteY115" fmla="*/ 712788 h 923466"/>
                <a:gd name="connsiteX116" fmla="*/ 264899 w 1148615"/>
                <a:gd name="connsiteY116" fmla="*/ 709493 h 923466"/>
                <a:gd name="connsiteX117" fmla="*/ 268776 w 1148615"/>
                <a:gd name="connsiteY117" fmla="*/ 702126 h 923466"/>
                <a:gd name="connsiteX118" fmla="*/ 279148 w 1148615"/>
                <a:gd name="connsiteY118" fmla="*/ 699768 h 923466"/>
                <a:gd name="connsiteX119" fmla="*/ 289212 w 1148615"/>
                <a:gd name="connsiteY119" fmla="*/ 709880 h 923466"/>
                <a:gd name="connsiteX120" fmla="*/ 282798 w 1148615"/>
                <a:gd name="connsiteY120" fmla="*/ 731156 h 923466"/>
                <a:gd name="connsiteX121" fmla="*/ 282443 w 1148615"/>
                <a:gd name="connsiteY121" fmla="*/ 731640 h 923466"/>
                <a:gd name="connsiteX122" fmla="*/ 279374 w 1148615"/>
                <a:gd name="connsiteY122" fmla="*/ 737375 h 923466"/>
                <a:gd name="connsiteX123" fmla="*/ 282007 w 1148615"/>
                <a:gd name="connsiteY123" fmla="*/ 744725 h 923466"/>
                <a:gd name="connsiteX124" fmla="*/ 284139 w 1148615"/>
                <a:gd name="connsiteY124" fmla="*/ 748731 h 923466"/>
                <a:gd name="connsiteX125" fmla="*/ 286691 w 1148615"/>
                <a:gd name="connsiteY125" fmla="*/ 759248 h 923466"/>
                <a:gd name="connsiteX126" fmla="*/ 287273 w 1148615"/>
                <a:gd name="connsiteY126" fmla="*/ 762931 h 923466"/>
                <a:gd name="connsiteX127" fmla="*/ 322732 w 1148615"/>
                <a:gd name="connsiteY127" fmla="*/ 811700 h 923466"/>
                <a:gd name="connsiteX128" fmla="*/ 330082 w 1148615"/>
                <a:gd name="connsiteY128" fmla="*/ 816676 h 923466"/>
                <a:gd name="connsiteX129" fmla="*/ 342876 w 1148615"/>
                <a:gd name="connsiteY129" fmla="*/ 828937 h 923466"/>
                <a:gd name="connsiteX130" fmla="*/ 352843 w 1148615"/>
                <a:gd name="connsiteY130" fmla="*/ 837789 h 923466"/>
                <a:gd name="connsiteX131" fmla="*/ 366122 w 1148615"/>
                <a:gd name="connsiteY131" fmla="*/ 836659 h 923466"/>
                <a:gd name="connsiteX132" fmla="*/ 369078 w 1148615"/>
                <a:gd name="connsiteY132" fmla="*/ 834575 h 923466"/>
                <a:gd name="connsiteX133" fmla="*/ 378464 w 1148615"/>
                <a:gd name="connsiteY133" fmla="*/ 830052 h 923466"/>
                <a:gd name="connsiteX134" fmla="*/ 385216 w 1148615"/>
                <a:gd name="connsiteY134" fmla="*/ 830843 h 923466"/>
                <a:gd name="connsiteX135" fmla="*/ 391193 w 1148615"/>
                <a:gd name="connsiteY135" fmla="*/ 830843 h 923466"/>
                <a:gd name="connsiteX136" fmla="*/ 392130 w 1148615"/>
                <a:gd name="connsiteY136" fmla="*/ 825852 h 923466"/>
                <a:gd name="connsiteX137" fmla="*/ 392162 w 1148615"/>
                <a:gd name="connsiteY137" fmla="*/ 823994 h 923466"/>
                <a:gd name="connsiteX138" fmla="*/ 408090 w 1148615"/>
                <a:gd name="connsiteY138" fmla="*/ 803106 h 923466"/>
                <a:gd name="connsiteX139" fmla="*/ 434018 w 1148615"/>
                <a:gd name="connsiteY139" fmla="*/ 806499 h 923466"/>
                <a:gd name="connsiteX140" fmla="*/ 441384 w 1148615"/>
                <a:gd name="connsiteY140" fmla="*/ 812040 h 923466"/>
                <a:gd name="connsiteX141" fmla="*/ 458201 w 1148615"/>
                <a:gd name="connsiteY141" fmla="*/ 819826 h 923466"/>
                <a:gd name="connsiteX142" fmla="*/ 470866 w 1148615"/>
                <a:gd name="connsiteY142" fmla="*/ 808486 h 923466"/>
                <a:gd name="connsiteX143" fmla="*/ 473176 w 1148615"/>
                <a:gd name="connsiteY143" fmla="*/ 805287 h 923466"/>
                <a:gd name="connsiteX144" fmla="*/ 488151 w 1148615"/>
                <a:gd name="connsiteY144" fmla="*/ 795401 h 923466"/>
                <a:gd name="connsiteX145" fmla="*/ 497165 w 1148615"/>
                <a:gd name="connsiteY145" fmla="*/ 797630 h 923466"/>
                <a:gd name="connsiteX146" fmla="*/ 502867 w 1148615"/>
                <a:gd name="connsiteY146" fmla="*/ 806256 h 923466"/>
                <a:gd name="connsiteX147" fmla="*/ 501833 w 1148615"/>
                <a:gd name="connsiteY147" fmla="*/ 838306 h 923466"/>
                <a:gd name="connsiteX148" fmla="*/ 492851 w 1148615"/>
                <a:gd name="connsiteY148" fmla="*/ 843831 h 923466"/>
                <a:gd name="connsiteX149" fmla="*/ 484807 w 1148615"/>
                <a:gd name="connsiteY149" fmla="*/ 849081 h 923466"/>
                <a:gd name="connsiteX150" fmla="*/ 493271 w 1148615"/>
                <a:gd name="connsiteY150" fmla="*/ 873636 h 923466"/>
                <a:gd name="connsiteX151" fmla="*/ 501801 w 1148615"/>
                <a:gd name="connsiteY151" fmla="*/ 878579 h 923466"/>
                <a:gd name="connsiteX152" fmla="*/ 505646 w 1148615"/>
                <a:gd name="connsiteY152" fmla="*/ 876398 h 923466"/>
                <a:gd name="connsiteX153" fmla="*/ 507940 w 1148615"/>
                <a:gd name="connsiteY153" fmla="*/ 874799 h 923466"/>
                <a:gd name="connsiteX154" fmla="*/ 525370 w 1148615"/>
                <a:gd name="connsiteY154" fmla="*/ 874896 h 923466"/>
                <a:gd name="connsiteX155" fmla="*/ 534982 w 1148615"/>
                <a:gd name="connsiteY155" fmla="*/ 889451 h 923466"/>
                <a:gd name="connsiteX156" fmla="*/ 533366 w 1148615"/>
                <a:gd name="connsiteY156" fmla="*/ 895751 h 923466"/>
                <a:gd name="connsiteX157" fmla="*/ 520346 w 1148615"/>
                <a:gd name="connsiteY157" fmla="*/ 899725 h 923466"/>
                <a:gd name="connsiteX158" fmla="*/ 512366 w 1148615"/>
                <a:gd name="connsiteY158" fmla="*/ 901146 h 923466"/>
                <a:gd name="connsiteX159" fmla="*/ 511978 w 1148615"/>
                <a:gd name="connsiteY159" fmla="*/ 903295 h 923466"/>
                <a:gd name="connsiteX160" fmla="*/ 520443 w 1148615"/>
                <a:gd name="connsiteY160" fmla="*/ 910613 h 923466"/>
                <a:gd name="connsiteX161" fmla="*/ 544642 w 1148615"/>
                <a:gd name="connsiteY161" fmla="*/ 920774 h 923466"/>
                <a:gd name="connsiteX162" fmla="*/ 558421 w 1148615"/>
                <a:gd name="connsiteY162" fmla="*/ 922583 h 923466"/>
                <a:gd name="connsiteX163" fmla="*/ 564463 w 1148615"/>
                <a:gd name="connsiteY163" fmla="*/ 913682 h 923466"/>
                <a:gd name="connsiteX164" fmla="*/ 567694 w 1148615"/>
                <a:gd name="connsiteY164" fmla="*/ 907091 h 923466"/>
                <a:gd name="connsiteX165" fmla="*/ 575351 w 1148615"/>
                <a:gd name="connsiteY165" fmla="*/ 898836 h 923466"/>
                <a:gd name="connsiteX166" fmla="*/ 579551 w 1148615"/>
                <a:gd name="connsiteY166" fmla="*/ 894878 h 923466"/>
                <a:gd name="connsiteX167" fmla="*/ 583283 w 1148615"/>
                <a:gd name="connsiteY167" fmla="*/ 883134 h 923466"/>
                <a:gd name="connsiteX168" fmla="*/ 582217 w 1148615"/>
                <a:gd name="connsiteY168" fmla="*/ 881890 h 923466"/>
                <a:gd name="connsiteX169" fmla="*/ 578776 w 1148615"/>
                <a:gd name="connsiteY169" fmla="*/ 885784 h 923466"/>
                <a:gd name="connsiteX170" fmla="*/ 578275 w 1148615"/>
                <a:gd name="connsiteY170" fmla="*/ 886607 h 923466"/>
                <a:gd name="connsiteX171" fmla="*/ 563009 w 1148615"/>
                <a:gd name="connsiteY171" fmla="*/ 893941 h 923466"/>
                <a:gd name="connsiteX172" fmla="*/ 555142 w 1148615"/>
                <a:gd name="connsiteY172" fmla="*/ 887221 h 923466"/>
                <a:gd name="connsiteX173" fmla="*/ 555643 w 1148615"/>
                <a:gd name="connsiteY173" fmla="*/ 878482 h 923466"/>
                <a:gd name="connsiteX174" fmla="*/ 560505 w 1148615"/>
                <a:gd name="connsiteY174" fmla="*/ 874056 h 923466"/>
                <a:gd name="connsiteX175" fmla="*/ 563348 w 1148615"/>
                <a:gd name="connsiteY175" fmla="*/ 871826 h 923466"/>
                <a:gd name="connsiteX176" fmla="*/ 564964 w 1148615"/>
                <a:gd name="connsiteY176" fmla="*/ 862683 h 923466"/>
                <a:gd name="connsiteX177" fmla="*/ 565335 w 1148615"/>
                <a:gd name="connsiteY177" fmla="*/ 854929 h 923466"/>
                <a:gd name="connsiteX178" fmla="*/ 568631 w 1148615"/>
                <a:gd name="connsiteY178" fmla="*/ 846868 h 923466"/>
                <a:gd name="connsiteX179" fmla="*/ 570812 w 1148615"/>
                <a:gd name="connsiteY179" fmla="*/ 842296 h 923466"/>
                <a:gd name="connsiteX180" fmla="*/ 569746 w 1148615"/>
                <a:gd name="connsiteY180" fmla="*/ 832669 h 923466"/>
                <a:gd name="connsiteX181" fmla="*/ 561038 w 1148615"/>
                <a:gd name="connsiteY181" fmla="*/ 822314 h 923466"/>
                <a:gd name="connsiteX182" fmla="*/ 562848 w 1148615"/>
                <a:gd name="connsiteY182" fmla="*/ 814091 h 923466"/>
                <a:gd name="connsiteX183" fmla="*/ 581797 w 1148615"/>
                <a:gd name="connsiteY183" fmla="*/ 803526 h 923466"/>
                <a:gd name="connsiteX184" fmla="*/ 590811 w 1148615"/>
                <a:gd name="connsiteY184" fmla="*/ 798648 h 923466"/>
                <a:gd name="connsiteX185" fmla="*/ 591182 w 1148615"/>
                <a:gd name="connsiteY185" fmla="*/ 793688 h 923466"/>
                <a:gd name="connsiteX186" fmla="*/ 583703 w 1148615"/>
                <a:gd name="connsiteY186" fmla="*/ 785967 h 923466"/>
                <a:gd name="connsiteX187" fmla="*/ 573752 w 1148615"/>
                <a:gd name="connsiteY187" fmla="*/ 783447 h 923466"/>
                <a:gd name="connsiteX188" fmla="*/ 563058 w 1148615"/>
                <a:gd name="connsiteY188" fmla="*/ 780749 h 923466"/>
                <a:gd name="connsiteX189" fmla="*/ 554092 w 1148615"/>
                <a:gd name="connsiteY189" fmla="*/ 772446 h 923466"/>
                <a:gd name="connsiteX190" fmla="*/ 554092 w 1148615"/>
                <a:gd name="connsiteY190" fmla="*/ 765241 h 923466"/>
                <a:gd name="connsiteX191" fmla="*/ 564027 w 1148615"/>
                <a:gd name="connsiteY191" fmla="*/ 758392 h 923466"/>
                <a:gd name="connsiteX192" fmla="*/ 577613 w 1148615"/>
                <a:gd name="connsiteY192" fmla="*/ 755904 h 923466"/>
                <a:gd name="connsiteX193" fmla="*/ 598274 w 1148615"/>
                <a:gd name="connsiteY193" fmla="*/ 750880 h 923466"/>
                <a:gd name="connsiteX194" fmla="*/ 607498 w 1148615"/>
                <a:gd name="connsiteY194" fmla="*/ 737456 h 923466"/>
                <a:gd name="connsiteX195" fmla="*/ 597353 w 1148615"/>
                <a:gd name="connsiteY195" fmla="*/ 730154 h 923466"/>
                <a:gd name="connsiteX196" fmla="*/ 557484 w 1148615"/>
                <a:gd name="connsiteY196" fmla="*/ 729508 h 923466"/>
                <a:gd name="connsiteX197" fmla="*/ 551782 w 1148615"/>
                <a:gd name="connsiteY197" fmla="*/ 731236 h 923466"/>
                <a:gd name="connsiteX198" fmla="*/ 537518 w 1148615"/>
                <a:gd name="connsiteY198" fmla="*/ 734629 h 923466"/>
                <a:gd name="connsiteX199" fmla="*/ 531977 w 1148615"/>
                <a:gd name="connsiteY199" fmla="*/ 733821 h 923466"/>
                <a:gd name="connsiteX200" fmla="*/ 528003 w 1148615"/>
                <a:gd name="connsiteY200" fmla="*/ 723870 h 923466"/>
                <a:gd name="connsiteX201" fmla="*/ 555724 w 1148615"/>
                <a:gd name="connsiteY201" fmla="*/ 704856 h 923466"/>
                <a:gd name="connsiteX202" fmla="*/ 557016 w 1148615"/>
                <a:gd name="connsiteY202" fmla="*/ 704679 h 923466"/>
                <a:gd name="connsiteX203" fmla="*/ 582653 w 1148615"/>
                <a:gd name="connsiteY203" fmla="*/ 694324 h 923466"/>
                <a:gd name="connsiteX204" fmla="*/ 585286 w 1148615"/>
                <a:gd name="connsiteY204" fmla="*/ 688395 h 923466"/>
                <a:gd name="connsiteX205" fmla="*/ 586627 w 1148615"/>
                <a:gd name="connsiteY205" fmla="*/ 684938 h 923466"/>
                <a:gd name="connsiteX206" fmla="*/ 627319 w 1148615"/>
                <a:gd name="connsiteY206" fmla="*/ 663550 h 923466"/>
                <a:gd name="connsiteX207" fmla="*/ 633587 w 1148615"/>
                <a:gd name="connsiteY207" fmla="*/ 666652 h 923466"/>
                <a:gd name="connsiteX208" fmla="*/ 635978 w 1148615"/>
                <a:gd name="connsiteY208" fmla="*/ 671724 h 923466"/>
                <a:gd name="connsiteX209" fmla="*/ 642132 w 1148615"/>
                <a:gd name="connsiteY209" fmla="*/ 693936 h 923466"/>
                <a:gd name="connsiteX210" fmla="*/ 646526 w 1148615"/>
                <a:gd name="connsiteY210" fmla="*/ 702352 h 923466"/>
                <a:gd name="connsiteX211" fmla="*/ 655864 w 1148615"/>
                <a:gd name="connsiteY211" fmla="*/ 701060 h 923466"/>
                <a:gd name="connsiteX212" fmla="*/ 662584 w 1148615"/>
                <a:gd name="connsiteY212" fmla="*/ 690802 h 923466"/>
                <a:gd name="connsiteX213" fmla="*/ 666461 w 1148615"/>
                <a:gd name="connsiteY213" fmla="*/ 671870 h 923466"/>
                <a:gd name="connsiteX214" fmla="*/ 662067 w 1148615"/>
                <a:gd name="connsiteY214" fmla="*/ 661466 h 923466"/>
                <a:gd name="connsiteX215" fmla="*/ 658626 w 1148615"/>
                <a:gd name="connsiteY215" fmla="*/ 654504 h 923466"/>
                <a:gd name="connsiteX216" fmla="*/ 660726 w 1148615"/>
                <a:gd name="connsiteY216" fmla="*/ 623294 h 923466"/>
                <a:gd name="connsiteX217" fmla="*/ 674005 w 1148615"/>
                <a:gd name="connsiteY217" fmla="*/ 613262 h 923466"/>
                <a:gd name="connsiteX218" fmla="*/ 684037 w 1148615"/>
                <a:gd name="connsiteY218" fmla="*/ 616525 h 923466"/>
                <a:gd name="connsiteX219" fmla="*/ 691597 w 1148615"/>
                <a:gd name="connsiteY219" fmla="*/ 631920 h 923466"/>
                <a:gd name="connsiteX220" fmla="*/ 691112 w 1148615"/>
                <a:gd name="connsiteY220" fmla="*/ 643826 h 923466"/>
                <a:gd name="connsiteX221" fmla="*/ 690757 w 1148615"/>
                <a:gd name="connsiteY221" fmla="*/ 655764 h 923466"/>
                <a:gd name="connsiteX222" fmla="*/ 696895 w 1148615"/>
                <a:gd name="connsiteY222" fmla="*/ 666506 h 923466"/>
                <a:gd name="connsiteX223" fmla="*/ 701031 w 1148615"/>
                <a:gd name="connsiteY223" fmla="*/ 667992 h 923466"/>
                <a:gd name="connsiteX224" fmla="*/ 710174 w 1148615"/>
                <a:gd name="connsiteY224" fmla="*/ 658187 h 923466"/>
                <a:gd name="connsiteX225" fmla="*/ 715828 w 1148615"/>
                <a:gd name="connsiteY225" fmla="*/ 660222 h 923466"/>
                <a:gd name="connsiteX226" fmla="*/ 720319 w 1148615"/>
                <a:gd name="connsiteY226" fmla="*/ 673130 h 923466"/>
                <a:gd name="connsiteX227" fmla="*/ 724664 w 1148615"/>
                <a:gd name="connsiteY227" fmla="*/ 677378 h 923466"/>
                <a:gd name="connsiteX228" fmla="*/ 727944 w 1148615"/>
                <a:gd name="connsiteY228" fmla="*/ 679333 h 923466"/>
                <a:gd name="connsiteX229" fmla="*/ 731869 w 1148615"/>
                <a:gd name="connsiteY229" fmla="*/ 660949 h 923466"/>
                <a:gd name="connsiteX230" fmla="*/ 746004 w 1148615"/>
                <a:gd name="connsiteY230" fmla="*/ 648656 h 923466"/>
                <a:gd name="connsiteX231" fmla="*/ 755228 w 1148615"/>
                <a:gd name="connsiteY231" fmla="*/ 663162 h 923466"/>
                <a:gd name="connsiteX232" fmla="*/ 752886 w 1148615"/>
                <a:gd name="connsiteY232" fmla="*/ 671821 h 923466"/>
                <a:gd name="connsiteX233" fmla="*/ 751125 w 1148615"/>
                <a:gd name="connsiteY233" fmla="*/ 677443 h 923466"/>
                <a:gd name="connsiteX234" fmla="*/ 760268 w 1148615"/>
                <a:gd name="connsiteY234" fmla="*/ 701189 h 923466"/>
                <a:gd name="connsiteX235" fmla="*/ 786293 w 1148615"/>
                <a:gd name="connsiteY235" fmla="*/ 708863 h 923466"/>
                <a:gd name="connsiteX236" fmla="*/ 795339 w 1148615"/>
                <a:gd name="connsiteY236" fmla="*/ 705664 h 923466"/>
                <a:gd name="connsiteX237" fmla="*/ 796421 w 1148615"/>
                <a:gd name="connsiteY237" fmla="*/ 704146 h 923466"/>
                <a:gd name="connsiteX238" fmla="*/ 800525 w 1148615"/>
                <a:gd name="connsiteY238" fmla="*/ 699962 h 923466"/>
                <a:gd name="connsiteX239" fmla="*/ 812446 w 1148615"/>
                <a:gd name="connsiteY239" fmla="*/ 703677 h 923466"/>
                <a:gd name="connsiteX240" fmla="*/ 818456 w 1148615"/>
                <a:gd name="connsiteY240" fmla="*/ 707005 h 923466"/>
                <a:gd name="connsiteX241" fmla="*/ 821961 w 1148615"/>
                <a:gd name="connsiteY241" fmla="*/ 700656 h 923466"/>
                <a:gd name="connsiteX242" fmla="*/ 822510 w 1148615"/>
                <a:gd name="connsiteY242" fmla="*/ 698782 h 923466"/>
                <a:gd name="connsiteX243" fmla="*/ 839295 w 1148615"/>
                <a:gd name="connsiteY243" fmla="*/ 683533 h 923466"/>
                <a:gd name="connsiteX244" fmla="*/ 861523 w 1148615"/>
                <a:gd name="connsiteY244" fmla="*/ 687975 h 923466"/>
                <a:gd name="connsiteX245" fmla="*/ 865464 w 1148615"/>
                <a:gd name="connsiteY245" fmla="*/ 692127 h 923466"/>
                <a:gd name="connsiteX246" fmla="*/ 870181 w 1148615"/>
                <a:gd name="connsiteY246" fmla="*/ 696796 h 923466"/>
                <a:gd name="connsiteX247" fmla="*/ 877354 w 1148615"/>
                <a:gd name="connsiteY247" fmla="*/ 697409 h 923466"/>
                <a:gd name="connsiteX248" fmla="*/ 877806 w 1148615"/>
                <a:gd name="connsiteY248" fmla="*/ 691465 h 923466"/>
                <a:gd name="connsiteX249" fmla="*/ 883977 w 1148615"/>
                <a:gd name="connsiteY249" fmla="*/ 678154 h 923466"/>
                <a:gd name="connsiteX250" fmla="*/ 893379 w 1148615"/>
                <a:gd name="connsiteY250" fmla="*/ 680205 h 923466"/>
                <a:gd name="connsiteX251" fmla="*/ 902086 w 1148615"/>
                <a:gd name="connsiteY251" fmla="*/ 699687 h 923466"/>
                <a:gd name="connsiteX252" fmla="*/ 908483 w 1148615"/>
                <a:gd name="connsiteY252" fmla="*/ 715551 h 923466"/>
                <a:gd name="connsiteX253" fmla="*/ 916415 w 1148615"/>
                <a:gd name="connsiteY253" fmla="*/ 716116 h 923466"/>
                <a:gd name="connsiteX254" fmla="*/ 918725 w 1148615"/>
                <a:gd name="connsiteY254" fmla="*/ 712917 h 923466"/>
                <a:gd name="connsiteX255" fmla="*/ 917465 w 1148615"/>
                <a:gd name="connsiteY255" fmla="*/ 708960 h 923466"/>
                <a:gd name="connsiteX256" fmla="*/ 916140 w 1148615"/>
                <a:gd name="connsiteY256" fmla="*/ 706197 h 923466"/>
                <a:gd name="connsiteX257" fmla="*/ 912538 w 1148615"/>
                <a:gd name="connsiteY257" fmla="*/ 695390 h 923466"/>
                <a:gd name="connsiteX258" fmla="*/ 921019 w 1148615"/>
                <a:gd name="connsiteY258" fmla="*/ 677847 h 923466"/>
                <a:gd name="connsiteX259" fmla="*/ 925493 w 1148615"/>
                <a:gd name="connsiteY259" fmla="*/ 675617 h 923466"/>
                <a:gd name="connsiteX260" fmla="*/ 994020 w 1148615"/>
                <a:gd name="connsiteY260" fmla="*/ 563927 h 923466"/>
                <a:gd name="connsiteX261" fmla="*/ 993987 w 1148615"/>
                <a:gd name="connsiteY261" fmla="*/ 563976 h 923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</a:cxnLst>
              <a:rect l="l" t="t" r="r" b="b"/>
              <a:pathLst>
                <a:path w="1148615" h="923466">
                  <a:moveTo>
                    <a:pt x="993987" y="563976"/>
                  </a:moveTo>
                  <a:cubicBezTo>
                    <a:pt x="994763" y="563766"/>
                    <a:pt x="995554" y="563572"/>
                    <a:pt x="996346" y="563378"/>
                  </a:cubicBezTo>
                  <a:cubicBezTo>
                    <a:pt x="1000788" y="562263"/>
                    <a:pt x="1004988" y="561197"/>
                    <a:pt x="1008171" y="558677"/>
                  </a:cubicBezTo>
                  <a:cubicBezTo>
                    <a:pt x="1010739" y="556658"/>
                    <a:pt x="1012581" y="553734"/>
                    <a:pt x="1014535" y="550648"/>
                  </a:cubicBezTo>
                  <a:cubicBezTo>
                    <a:pt x="1026134" y="532378"/>
                    <a:pt x="1038686" y="514592"/>
                    <a:pt x="1051884" y="497663"/>
                  </a:cubicBezTo>
                  <a:cubicBezTo>
                    <a:pt x="1054662" y="494093"/>
                    <a:pt x="1058491" y="489214"/>
                    <a:pt x="1063790" y="486548"/>
                  </a:cubicBezTo>
                  <a:cubicBezTo>
                    <a:pt x="1068539" y="484174"/>
                    <a:pt x="1073692" y="483851"/>
                    <a:pt x="1078668" y="483544"/>
                  </a:cubicBezTo>
                  <a:cubicBezTo>
                    <a:pt x="1080671" y="483415"/>
                    <a:pt x="1082561" y="483301"/>
                    <a:pt x="1084419" y="483059"/>
                  </a:cubicBezTo>
                  <a:cubicBezTo>
                    <a:pt x="1094693" y="481702"/>
                    <a:pt x="1103771" y="476517"/>
                    <a:pt x="1113383" y="471008"/>
                  </a:cubicBezTo>
                  <a:cubicBezTo>
                    <a:pt x="1116840" y="469021"/>
                    <a:pt x="1120426" y="466970"/>
                    <a:pt x="1124045" y="465144"/>
                  </a:cubicBezTo>
                  <a:cubicBezTo>
                    <a:pt x="1129036" y="462624"/>
                    <a:pt x="1138503" y="458585"/>
                    <a:pt x="1148615" y="458101"/>
                  </a:cubicBezTo>
                  <a:cubicBezTo>
                    <a:pt x="1143236" y="454563"/>
                    <a:pt x="1137808" y="452463"/>
                    <a:pt x="1131040" y="449879"/>
                  </a:cubicBezTo>
                  <a:cubicBezTo>
                    <a:pt x="1128100" y="448764"/>
                    <a:pt x="1124949" y="447552"/>
                    <a:pt x="1121460" y="446098"/>
                  </a:cubicBezTo>
                  <a:cubicBezTo>
                    <a:pt x="1119441" y="445258"/>
                    <a:pt x="1116404" y="443982"/>
                    <a:pt x="1114772" y="441155"/>
                  </a:cubicBezTo>
                  <a:cubicBezTo>
                    <a:pt x="1111638" y="435695"/>
                    <a:pt x="1115855" y="430510"/>
                    <a:pt x="1118940" y="426713"/>
                  </a:cubicBezTo>
                  <a:cubicBezTo>
                    <a:pt x="1119683" y="425809"/>
                    <a:pt x="1120410" y="424904"/>
                    <a:pt x="1121040" y="424032"/>
                  </a:cubicBezTo>
                  <a:cubicBezTo>
                    <a:pt x="1124303" y="419428"/>
                    <a:pt x="1123657" y="414501"/>
                    <a:pt x="1122542" y="411157"/>
                  </a:cubicBezTo>
                  <a:cubicBezTo>
                    <a:pt x="1119942" y="403354"/>
                    <a:pt x="1112268" y="396004"/>
                    <a:pt x="1103884" y="393290"/>
                  </a:cubicBezTo>
                  <a:cubicBezTo>
                    <a:pt x="1096857" y="391012"/>
                    <a:pt x="1089491" y="390431"/>
                    <a:pt x="1081688" y="389817"/>
                  </a:cubicBezTo>
                  <a:cubicBezTo>
                    <a:pt x="1073902" y="389203"/>
                    <a:pt x="1065857" y="388557"/>
                    <a:pt x="1058168" y="386069"/>
                  </a:cubicBezTo>
                  <a:cubicBezTo>
                    <a:pt x="1043096" y="381191"/>
                    <a:pt x="1031304" y="369899"/>
                    <a:pt x="1020900" y="359932"/>
                  </a:cubicBezTo>
                  <a:lnTo>
                    <a:pt x="986637" y="327139"/>
                  </a:lnTo>
                  <a:cubicBezTo>
                    <a:pt x="985038" y="325620"/>
                    <a:pt x="982647" y="323326"/>
                    <a:pt x="982211" y="320015"/>
                  </a:cubicBezTo>
                  <a:cubicBezTo>
                    <a:pt x="981306" y="313133"/>
                    <a:pt x="987962" y="310871"/>
                    <a:pt x="992824" y="309224"/>
                  </a:cubicBezTo>
                  <a:cubicBezTo>
                    <a:pt x="995780" y="308222"/>
                    <a:pt x="998817" y="307188"/>
                    <a:pt x="1000514" y="305508"/>
                  </a:cubicBezTo>
                  <a:cubicBezTo>
                    <a:pt x="1001644" y="304377"/>
                    <a:pt x="1002145" y="302859"/>
                    <a:pt x="1002000" y="301034"/>
                  </a:cubicBezTo>
                  <a:cubicBezTo>
                    <a:pt x="1001725" y="297641"/>
                    <a:pt x="999254" y="293651"/>
                    <a:pt x="996007" y="291341"/>
                  </a:cubicBezTo>
                  <a:cubicBezTo>
                    <a:pt x="993906" y="289839"/>
                    <a:pt x="991564" y="288627"/>
                    <a:pt x="989076" y="287351"/>
                  </a:cubicBezTo>
                  <a:cubicBezTo>
                    <a:pt x="985636" y="285558"/>
                    <a:pt x="982098" y="283716"/>
                    <a:pt x="979109" y="281019"/>
                  </a:cubicBezTo>
                  <a:cubicBezTo>
                    <a:pt x="968092" y="288886"/>
                    <a:pt x="956122" y="288110"/>
                    <a:pt x="943522" y="287303"/>
                  </a:cubicBezTo>
                  <a:cubicBezTo>
                    <a:pt x="940969" y="287141"/>
                    <a:pt x="938352" y="286963"/>
                    <a:pt x="935670" y="286866"/>
                  </a:cubicBezTo>
                  <a:cubicBezTo>
                    <a:pt x="914961" y="286026"/>
                    <a:pt x="894154" y="293457"/>
                    <a:pt x="878565" y="307140"/>
                  </a:cubicBezTo>
                  <a:cubicBezTo>
                    <a:pt x="877839" y="307770"/>
                    <a:pt x="877128" y="308432"/>
                    <a:pt x="876417" y="309078"/>
                  </a:cubicBezTo>
                  <a:cubicBezTo>
                    <a:pt x="872831" y="312325"/>
                    <a:pt x="869131" y="315702"/>
                    <a:pt x="864334" y="317543"/>
                  </a:cubicBezTo>
                  <a:cubicBezTo>
                    <a:pt x="861264" y="318722"/>
                    <a:pt x="858066" y="319142"/>
                    <a:pt x="854916" y="319142"/>
                  </a:cubicBezTo>
                  <a:cubicBezTo>
                    <a:pt x="850683" y="319142"/>
                    <a:pt x="846532" y="318383"/>
                    <a:pt x="842881" y="317721"/>
                  </a:cubicBezTo>
                  <a:lnTo>
                    <a:pt x="741303" y="299224"/>
                  </a:lnTo>
                  <a:cubicBezTo>
                    <a:pt x="733452" y="297787"/>
                    <a:pt x="724067" y="295089"/>
                    <a:pt x="721223" y="286866"/>
                  </a:cubicBezTo>
                  <a:cubicBezTo>
                    <a:pt x="720464" y="284637"/>
                    <a:pt x="720335" y="282424"/>
                    <a:pt x="720222" y="280276"/>
                  </a:cubicBezTo>
                  <a:cubicBezTo>
                    <a:pt x="720093" y="277868"/>
                    <a:pt x="719980" y="275801"/>
                    <a:pt x="719010" y="274250"/>
                  </a:cubicBezTo>
                  <a:cubicBezTo>
                    <a:pt x="717443" y="271730"/>
                    <a:pt x="714051" y="271067"/>
                    <a:pt x="710110" y="270276"/>
                  </a:cubicBezTo>
                  <a:cubicBezTo>
                    <a:pt x="706539" y="269565"/>
                    <a:pt x="702485" y="268758"/>
                    <a:pt x="699318" y="266237"/>
                  </a:cubicBezTo>
                  <a:cubicBezTo>
                    <a:pt x="692404" y="260729"/>
                    <a:pt x="693858" y="251973"/>
                    <a:pt x="695135" y="244252"/>
                  </a:cubicBezTo>
                  <a:cubicBezTo>
                    <a:pt x="696007" y="238969"/>
                    <a:pt x="696911" y="233493"/>
                    <a:pt x="695361" y="229180"/>
                  </a:cubicBezTo>
                  <a:cubicBezTo>
                    <a:pt x="693777" y="224802"/>
                    <a:pt x="690111" y="222896"/>
                    <a:pt x="687316" y="222088"/>
                  </a:cubicBezTo>
                  <a:cubicBezTo>
                    <a:pt x="680660" y="220133"/>
                    <a:pt x="671856" y="221942"/>
                    <a:pt x="665928" y="226482"/>
                  </a:cubicBezTo>
                  <a:cubicBezTo>
                    <a:pt x="660968" y="230278"/>
                    <a:pt x="656994" y="235124"/>
                    <a:pt x="652794" y="240261"/>
                  </a:cubicBezTo>
                  <a:cubicBezTo>
                    <a:pt x="648497" y="245512"/>
                    <a:pt x="644039" y="250956"/>
                    <a:pt x="638417" y="255188"/>
                  </a:cubicBezTo>
                  <a:cubicBezTo>
                    <a:pt x="615930" y="272118"/>
                    <a:pt x="585577" y="263168"/>
                    <a:pt x="573574" y="258516"/>
                  </a:cubicBezTo>
                  <a:cubicBezTo>
                    <a:pt x="564398" y="254978"/>
                    <a:pt x="555562" y="250422"/>
                    <a:pt x="547017" y="246012"/>
                  </a:cubicBezTo>
                  <a:cubicBezTo>
                    <a:pt x="536646" y="240665"/>
                    <a:pt x="525919" y="235141"/>
                    <a:pt x="514757" y="231554"/>
                  </a:cubicBezTo>
                  <a:cubicBezTo>
                    <a:pt x="499943" y="226773"/>
                    <a:pt x="483983" y="225270"/>
                    <a:pt x="468556" y="223800"/>
                  </a:cubicBezTo>
                  <a:cubicBezTo>
                    <a:pt x="458007" y="222799"/>
                    <a:pt x="447119" y="221765"/>
                    <a:pt x="436522" y="219713"/>
                  </a:cubicBezTo>
                  <a:cubicBezTo>
                    <a:pt x="420998" y="216692"/>
                    <a:pt x="411661" y="210360"/>
                    <a:pt x="408769" y="200878"/>
                  </a:cubicBezTo>
                  <a:cubicBezTo>
                    <a:pt x="405118" y="188923"/>
                    <a:pt x="413098" y="179392"/>
                    <a:pt x="420820" y="170168"/>
                  </a:cubicBezTo>
                  <a:cubicBezTo>
                    <a:pt x="426361" y="163545"/>
                    <a:pt x="432079" y="156696"/>
                    <a:pt x="433372" y="149119"/>
                  </a:cubicBezTo>
                  <a:cubicBezTo>
                    <a:pt x="434955" y="139815"/>
                    <a:pt x="429850" y="130671"/>
                    <a:pt x="424018" y="121350"/>
                  </a:cubicBezTo>
                  <a:cubicBezTo>
                    <a:pt x="411337" y="101093"/>
                    <a:pt x="399367" y="83533"/>
                    <a:pt x="381291" y="73905"/>
                  </a:cubicBezTo>
                  <a:cubicBezTo>
                    <a:pt x="363892" y="64633"/>
                    <a:pt x="344120" y="64358"/>
                    <a:pt x="323200" y="64084"/>
                  </a:cubicBezTo>
                  <a:cubicBezTo>
                    <a:pt x="306545" y="63857"/>
                    <a:pt x="289341" y="63631"/>
                    <a:pt x="273332" y="58446"/>
                  </a:cubicBezTo>
                  <a:cubicBezTo>
                    <a:pt x="246710" y="49836"/>
                    <a:pt x="225322" y="27026"/>
                    <a:pt x="218230" y="0"/>
                  </a:cubicBezTo>
                  <a:cubicBezTo>
                    <a:pt x="215904" y="1179"/>
                    <a:pt x="213465" y="1971"/>
                    <a:pt x="211364" y="2617"/>
                  </a:cubicBezTo>
                  <a:lnTo>
                    <a:pt x="206841" y="4006"/>
                  </a:lnTo>
                  <a:cubicBezTo>
                    <a:pt x="187763" y="9870"/>
                    <a:pt x="168039" y="15928"/>
                    <a:pt x="151352" y="26832"/>
                  </a:cubicBezTo>
                  <a:cubicBezTo>
                    <a:pt x="142451" y="32648"/>
                    <a:pt x="134341" y="39901"/>
                    <a:pt x="126490" y="46928"/>
                  </a:cubicBezTo>
                  <a:lnTo>
                    <a:pt x="98414" y="72032"/>
                  </a:lnTo>
                  <a:cubicBezTo>
                    <a:pt x="66590" y="100479"/>
                    <a:pt x="30518" y="132723"/>
                    <a:pt x="16222" y="176129"/>
                  </a:cubicBezTo>
                  <a:cubicBezTo>
                    <a:pt x="14639" y="180927"/>
                    <a:pt x="13136" y="186533"/>
                    <a:pt x="13960" y="191799"/>
                  </a:cubicBezTo>
                  <a:cubicBezTo>
                    <a:pt x="14267" y="193818"/>
                    <a:pt x="14929" y="195821"/>
                    <a:pt x="15608" y="197937"/>
                  </a:cubicBezTo>
                  <a:cubicBezTo>
                    <a:pt x="16238" y="199892"/>
                    <a:pt x="16900" y="201911"/>
                    <a:pt x="17320" y="204060"/>
                  </a:cubicBezTo>
                  <a:cubicBezTo>
                    <a:pt x="19113" y="213316"/>
                    <a:pt x="15915" y="222718"/>
                    <a:pt x="13346" y="230262"/>
                  </a:cubicBezTo>
                  <a:lnTo>
                    <a:pt x="3234" y="259970"/>
                  </a:lnTo>
                  <a:cubicBezTo>
                    <a:pt x="1602" y="264767"/>
                    <a:pt x="-78" y="269727"/>
                    <a:pt x="3" y="274638"/>
                  </a:cubicBezTo>
                  <a:cubicBezTo>
                    <a:pt x="148" y="283765"/>
                    <a:pt x="6028" y="291454"/>
                    <a:pt x="12248" y="299596"/>
                  </a:cubicBezTo>
                  <a:cubicBezTo>
                    <a:pt x="18548" y="307818"/>
                    <a:pt x="25042" y="316332"/>
                    <a:pt x="25753" y="326913"/>
                  </a:cubicBezTo>
                  <a:cubicBezTo>
                    <a:pt x="25930" y="329578"/>
                    <a:pt x="25720" y="332195"/>
                    <a:pt x="25494" y="334715"/>
                  </a:cubicBezTo>
                  <a:cubicBezTo>
                    <a:pt x="25252" y="337607"/>
                    <a:pt x="25026" y="340337"/>
                    <a:pt x="25381" y="342954"/>
                  </a:cubicBezTo>
                  <a:cubicBezTo>
                    <a:pt x="25995" y="347428"/>
                    <a:pt x="28014" y="351095"/>
                    <a:pt x="29953" y="354633"/>
                  </a:cubicBezTo>
                  <a:cubicBezTo>
                    <a:pt x="32909" y="360029"/>
                    <a:pt x="35962" y="365618"/>
                    <a:pt x="33991" y="373485"/>
                  </a:cubicBezTo>
                  <a:cubicBezTo>
                    <a:pt x="33943" y="373663"/>
                    <a:pt x="33894" y="373824"/>
                    <a:pt x="33814" y="373970"/>
                  </a:cubicBezTo>
                  <a:cubicBezTo>
                    <a:pt x="33943" y="375149"/>
                    <a:pt x="34250" y="377120"/>
                    <a:pt x="34476" y="378541"/>
                  </a:cubicBezTo>
                  <a:cubicBezTo>
                    <a:pt x="35122" y="382645"/>
                    <a:pt x="35494" y="384922"/>
                    <a:pt x="35106" y="386295"/>
                  </a:cubicBezTo>
                  <a:cubicBezTo>
                    <a:pt x="36996" y="403823"/>
                    <a:pt x="32844" y="414371"/>
                    <a:pt x="27158" y="428830"/>
                  </a:cubicBezTo>
                  <a:cubicBezTo>
                    <a:pt x="26334" y="430929"/>
                    <a:pt x="25478" y="433110"/>
                    <a:pt x="24573" y="435437"/>
                  </a:cubicBezTo>
                  <a:cubicBezTo>
                    <a:pt x="19711" y="448118"/>
                    <a:pt x="14364" y="458489"/>
                    <a:pt x="8694" y="469474"/>
                  </a:cubicBezTo>
                  <a:cubicBezTo>
                    <a:pt x="5883" y="474918"/>
                    <a:pt x="2991" y="480539"/>
                    <a:pt x="67" y="486597"/>
                  </a:cubicBezTo>
                  <a:cubicBezTo>
                    <a:pt x="6400" y="493915"/>
                    <a:pt x="11392" y="502008"/>
                    <a:pt x="14380" y="511345"/>
                  </a:cubicBezTo>
                  <a:cubicBezTo>
                    <a:pt x="17595" y="521393"/>
                    <a:pt x="18079" y="531974"/>
                    <a:pt x="18532" y="542200"/>
                  </a:cubicBezTo>
                  <a:cubicBezTo>
                    <a:pt x="18952" y="551666"/>
                    <a:pt x="19404" y="561456"/>
                    <a:pt x="22070" y="570453"/>
                  </a:cubicBezTo>
                  <a:cubicBezTo>
                    <a:pt x="27756" y="589629"/>
                    <a:pt x="42262" y="603537"/>
                    <a:pt x="57609" y="618270"/>
                  </a:cubicBezTo>
                  <a:cubicBezTo>
                    <a:pt x="66833" y="627122"/>
                    <a:pt x="76380" y="636266"/>
                    <a:pt x="83876" y="646701"/>
                  </a:cubicBezTo>
                  <a:cubicBezTo>
                    <a:pt x="86864" y="650869"/>
                    <a:pt x="90305" y="656442"/>
                    <a:pt x="90240" y="662710"/>
                  </a:cubicBezTo>
                  <a:cubicBezTo>
                    <a:pt x="90208" y="665440"/>
                    <a:pt x="89546" y="667960"/>
                    <a:pt x="88899" y="670400"/>
                  </a:cubicBezTo>
                  <a:cubicBezTo>
                    <a:pt x="88237" y="672887"/>
                    <a:pt x="87623" y="675230"/>
                    <a:pt x="87785" y="677459"/>
                  </a:cubicBezTo>
                  <a:cubicBezTo>
                    <a:pt x="88221" y="683371"/>
                    <a:pt x="93471" y="687038"/>
                    <a:pt x="99561" y="691271"/>
                  </a:cubicBezTo>
                  <a:cubicBezTo>
                    <a:pt x="103907" y="694292"/>
                    <a:pt x="108381" y="697409"/>
                    <a:pt x="111467" y="701739"/>
                  </a:cubicBezTo>
                  <a:cubicBezTo>
                    <a:pt x="117783" y="710575"/>
                    <a:pt x="116410" y="721318"/>
                    <a:pt x="115085" y="731705"/>
                  </a:cubicBezTo>
                  <a:cubicBezTo>
                    <a:pt x="114035" y="739960"/>
                    <a:pt x="113082" y="747778"/>
                    <a:pt x="115683" y="754547"/>
                  </a:cubicBezTo>
                  <a:cubicBezTo>
                    <a:pt x="124471" y="754757"/>
                    <a:pt x="133226" y="758828"/>
                    <a:pt x="138364" y="766032"/>
                  </a:cubicBezTo>
                  <a:cubicBezTo>
                    <a:pt x="139268" y="767309"/>
                    <a:pt x="140076" y="768649"/>
                    <a:pt x="140851" y="769942"/>
                  </a:cubicBezTo>
                  <a:cubicBezTo>
                    <a:pt x="142451" y="772623"/>
                    <a:pt x="143953" y="775160"/>
                    <a:pt x="146182" y="776629"/>
                  </a:cubicBezTo>
                  <a:cubicBezTo>
                    <a:pt x="152692" y="780910"/>
                    <a:pt x="161771" y="774691"/>
                    <a:pt x="168249" y="768714"/>
                  </a:cubicBezTo>
                  <a:cubicBezTo>
                    <a:pt x="175825" y="761719"/>
                    <a:pt x="183224" y="754127"/>
                    <a:pt x="183111" y="745000"/>
                  </a:cubicBezTo>
                  <a:cubicBezTo>
                    <a:pt x="183079" y="742447"/>
                    <a:pt x="182481" y="739750"/>
                    <a:pt x="181851" y="736874"/>
                  </a:cubicBezTo>
                  <a:cubicBezTo>
                    <a:pt x="180575" y="731123"/>
                    <a:pt x="179137" y="724613"/>
                    <a:pt x="183030" y="719137"/>
                  </a:cubicBezTo>
                  <a:cubicBezTo>
                    <a:pt x="185098" y="716229"/>
                    <a:pt x="188377" y="714371"/>
                    <a:pt x="192254" y="713903"/>
                  </a:cubicBezTo>
                  <a:cubicBezTo>
                    <a:pt x="197165" y="713321"/>
                    <a:pt x="202560" y="714985"/>
                    <a:pt x="206340" y="718248"/>
                  </a:cubicBezTo>
                  <a:cubicBezTo>
                    <a:pt x="212204" y="723321"/>
                    <a:pt x="214854" y="730881"/>
                    <a:pt x="217196" y="737569"/>
                  </a:cubicBezTo>
                  <a:lnTo>
                    <a:pt x="217374" y="738069"/>
                  </a:lnTo>
                  <a:cubicBezTo>
                    <a:pt x="218537" y="741365"/>
                    <a:pt x="219651" y="744273"/>
                    <a:pt x="221606" y="746357"/>
                  </a:cubicBezTo>
                  <a:cubicBezTo>
                    <a:pt x="225596" y="750589"/>
                    <a:pt x="232430" y="750637"/>
                    <a:pt x="237453" y="748812"/>
                  </a:cubicBezTo>
                  <a:cubicBezTo>
                    <a:pt x="242833" y="746857"/>
                    <a:pt x="247372" y="742997"/>
                    <a:pt x="251734" y="739055"/>
                  </a:cubicBezTo>
                  <a:cubicBezTo>
                    <a:pt x="250038" y="733353"/>
                    <a:pt x="248390" y="727602"/>
                    <a:pt x="246823" y="721915"/>
                  </a:cubicBezTo>
                  <a:cubicBezTo>
                    <a:pt x="246532" y="720882"/>
                    <a:pt x="246839" y="719783"/>
                    <a:pt x="247615" y="719040"/>
                  </a:cubicBezTo>
                  <a:cubicBezTo>
                    <a:pt x="248390" y="718297"/>
                    <a:pt x="249505" y="718055"/>
                    <a:pt x="250522" y="718378"/>
                  </a:cubicBezTo>
                  <a:cubicBezTo>
                    <a:pt x="255417" y="719977"/>
                    <a:pt x="261426" y="717408"/>
                    <a:pt x="263672" y="712788"/>
                  </a:cubicBezTo>
                  <a:cubicBezTo>
                    <a:pt x="264156" y="711803"/>
                    <a:pt x="264512" y="710688"/>
                    <a:pt x="264899" y="709493"/>
                  </a:cubicBezTo>
                  <a:cubicBezTo>
                    <a:pt x="265691" y="707053"/>
                    <a:pt x="266596" y="704291"/>
                    <a:pt x="268776" y="702126"/>
                  </a:cubicBezTo>
                  <a:cubicBezTo>
                    <a:pt x="271410" y="699509"/>
                    <a:pt x="275190" y="698653"/>
                    <a:pt x="279148" y="699768"/>
                  </a:cubicBezTo>
                  <a:cubicBezTo>
                    <a:pt x="284042" y="701157"/>
                    <a:pt x="288081" y="705212"/>
                    <a:pt x="289212" y="709880"/>
                  </a:cubicBezTo>
                  <a:cubicBezTo>
                    <a:pt x="290746" y="716261"/>
                    <a:pt x="288646" y="723224"/>
                    <a:pt x="282798" y="731156"/>
                  </a:cubicBezTo>
                  <a:lnTo>
                    <a:pt x="282443" y="731640"/>
                  </a:lnTo>
                  <a:cubicBezTo>
                    <a:pt x="280989" y="733611"/>
                    <a:pt x="279600" y="735469"/>
                    <a:pt x="279374" y="737375"/>
                  </a:cubicBezTo>
                  <a:cubicBezTo>
                    <a:pt x="279099" y="739701"/>
                    <a:pt x="280456" y="742027"/>
                    <a:pt x="282007" y="744725"/>
                  </a:cubicBezTo>
                  <a:cubicBezTo>
                    <a:pt x="282750" y="746001"/>
                    <a:pt x="283509" y="747326"/>
                    <a:pt x="284139" y="748731"/>
                  </a:cubicBezTo>
                  <a:cubicBezTo>
                    <a:pt x="285674" y="752172"/>
                    <a:pt x="286191" y="755775"/>
                    <a:pt x="286691" y="759248"/>
                  </a:cubicBezTo>
                  <a:cubicBezTo>
                    <a:pt x="286869" y="760475"/>
                    <a:pt x="287047" y="761719"/>
                    <a:pt x="287273" y="762931"/>
                  </a:cubicBezTo>
                  <a:cubicBezTo>
                    <a:pt x="290795" y="782057"/>
                    <a:pt x="306060" y="796919"/>
                    <a:pt x="322732" y="811700"/>
                  </a:cubicBezTo>
                  <a:cubicBezTo>
                    <a:pt x="324896" y="813623"/>
                    <a:pt x="327529" y="815174"/>
                    <a:pt x="330082" y="816676"/>
                  </a:cubicBezTo>
                  <a:cubicBezTo>
                    <a:pt x="335154" y="819664"/>
                    <a:pt x="340404" y="822766"/>
                    <a:pt x="342876" y="828937"/>
                  </a:cubicBezTo>
                  <a:cubicBezTo>
                    <a:pt x="344507" y="832992"/>
                    <a:pt x="348126" y="836222"/>
                    <a:pt x="352843" y="837789"/>
                  </a:cubicBezTo>
                  <a:cubicBezTo>
                    <a:pt x="357544" y="839356"/>
                    <a:pt x="362390" y="838936"/>
                    <a:pt x="366122" y="836659"/>
                  </a:cubicBezTo>
                  <a:cubicBezTo>
                    <a:pt x="367091" y="836061"/>
                    <a:pt x="368060" y="835350"/>
                    <a:pt x="369078" y="834575"/>
                  </a:cubicBezTo>
                  <a:cubicBezTo>
                    <a:pt x="371695" y="832620"/>
                    <a:pt x="374651" y="830391"/>
                    <a:pt x="378464" y="830052"/>
                  </a:cubicBezTo>
                  <a:cubicBezTo>
                    <a:pt x="380790" y="829842"/>
                    <a:pt x="383148" y="830375"/>
                    <a:pt x="385216" y="830843"/>
                  </a:cubicBezTo>
                  <a:cubicBezTo>
                    <a:pt x="388528" y="831586"/>
                    <a:pt x="390192" y="831828"/>
                    <a:pt x="391193" y="830843"/>
                  </a:cubicBezTo>
                  <a:cubicBezTo>
                    <a:pt x="392114" y="829922"/>
                    <a:pt x="392114" y="827951"/>
                    <a:pt x="392130" y="825852"/>
                  </a:cubicBezTo>
                  <a:cubicBezTo>
                    <a:pt x="392130" y="825221"/>
                    <a:pt x="392130" y="824608"/>
                    <a:pt x="392162" y="823994"/>
                  </a:cubicBezTo>
                  <a:cubicBezTo>
                    <a:pt x="392518" y="814964"/>
                    <a:pt x="399076" y="806386"/>
                    <a:pt x="408090" y="803106"/>
                  </a:cubicBezTo>
                  <a:cubicBezTo>
                    <a:pt x="416313" y="800134"/>
                    <a:pt x="425989" y="801394"/>
                    <a:pt x="434018" y="806499"/>
                  </a:cubicBezTo>
                  <a:cubicBezTo>
                    <a:pt x="436586" y="808130"/>
                    <a:pt x="439026" y="810117"/>
                    <a:pt x="441384" y="812040"/>
                  </a:cubicBezTo>
                  <a:cubicBezTo>
                    <a:pt x="447006" y="816595"/>
                    <a:pt x="452304" y="820892"/>
                    <a:pt x="458201" y="819826"/>
                  </a:cubicBezTo>
                  <a:cubicBezTo>
                    <a:pt x="463516" y="818840"/>
                    <a:pt x="467086" y="813800"/>
                    <a:pt x="470866" y="808486"/>
                  </a:cubicBezTo>
                  <a:cubicBezTo>
                    <a:pt x="471641" y="807403"/>
                    <a:pt x="472400" y="806321"/>
                    <a:pt x="473176" y="805287"/>
                  </a:cubicBezTo>
                  <a:cubicBezTo>
                    <a:pt x="476326" y="801087"/>
                    <a:pt x="481915" y="796273"/>
                    <a:pt x="488151" y="795401"/>
                  </a:cubicBezTo>
                  <a:cubicBezTo>
                    <a:pt x="491495" y="794932"/>
                    <a:pt x="494612" y="795708"/>
                    <a:pt x="497165" y="797630"/>
                  </a:cubicBezTo>
                  <a:cubicBezTo>
                    <a:pt x="500056" y="799827"/>
                    <a:pt x="501510" y="802961"/>
                    <a:pt x="502867" y="806256"/>
                  </a:cubicBezTo>
                  <a:cubicBezTo>
                    <a:pt x="508893" y="820892"/>
                    <a:pt x="508537" y="831667"/>
                    <a:pt x="501833" y="838306"/>
                  </a:cubicBezTo>
                  <a:cubicBezTo>
                    <a:pt x="499216" y="840907"/>
                    <a:pt x="495969" y="842393"/>
                    <a:pt x="492851" y="843831"/>
                  </a:cubicBezTo>
                  <a:cubicBezTo>
                    <a:pt x="489653" y="845301"/>
                    <a:pt x="486648" y="846690"/>
                    <a:pt x="484807" y="849081"/>
                  </a:cubicBezTo>
                  <a:cubicBezTo>
                    <a:pt x="478814" y="856900"/>
                    <a:pt x="488732" y="868854"/>
                    <a:pt x="493271" y="873636"/>
                  </a:cubicBezTo>
                  <a:cubicBezTo>
                    <a:pt x="495905" y="876398"/>
                    <a:pt x="498974" y="879160"/>
                    <a:pt x="501801" y="878579"/>
                  </a:cubicBezTo>
                  <a:cubicBezTo>
                    <a:pt x="503045" y="878320"/>
                    <a:pt x="504305" y="877383"/>
                    <a:pt x="505646" y="876398"/>
                  </a:cubicBezTo>
                  <a:cubicBezTo>
                    <a:pt x="506405" y="875833"/>
                    <a:pt x="507148" y="875283"/>
                    <a:pt x="507940" y="874799"/>
                  </a:cubicBezTo>
                  <a:cubicBezTo>
                    <a:pt x="512899" y="871729"/>
                    <a:pt x="519587" y="871762"/>
                    <a:pt x="525370" y="874896"/>
                  </a:cubicBezTo>
                  <a:cubicBezTo>
                    <a:pt x="531153" y="878029"/>
                    <a:pt x="534836" y="883603"/>
                    <a:pt x="534982" y="889451"/>
                  </a:cubicBezTo>
                  <a:cubicBezTo>
                    <a:pt x="535046" y="891971"/>
                    <a:pt x="534497" y="894087"/>
                    <a:pt x="533366" y="895751"/>
                  </a:cubicBezTo>
                  <a:cubicBezTo>
                    <a:pt x="530313" y="900258"/>
                    <a:pt x="524788" y="899967"/>
                    <a:pt x="520346" y="899725"/>
                  </a:cubicBezTo>
                  <a:cubicBezTo>
                    <a:pt x="516307" y="899515"/>
                    <a:pt x="513561" y="899482"/>
                    <a:pt x="512366" y="901146"/>
                  </a:cubicBezTo>
                  <a:cubicBezTo>
                    <a:pt x="511865" y="901841"/>
                    <a:pt x="511752" y="902487"/>
                    <a:pt x="511978" y="903295"/>
                  </a:cubicBezTo>
                  <a:cubicBezTo>
                    <a:pt x="512656" y="905718"/>
                    <a:pt x="516307" y="908868"/>
                    <a:pt x="520443" y="910613"/>
                  </a:cubicBezTo>
                  <a:lnTo>
                    <a:pt x="544642" y="920774"/>
                  </a:lnTo>
                  <a:cubicBezTo>
                    <a:pt x="549294" y="922728"/>
                    <a:pt x="554577" y="924634"/>
                    <a:pt x="558421" y="922583"/>
                  </a:cubicBezTo>
                  <a:cubicBezTo>
                    <a:pt x="561361" y="921000"/>
                    <a:pt x="562799" y="917607"/>
                    <a:pt x="564463" y="913682"/>
                  </a:cubicBezTo>
                  <a:cubicBezTo>
                    <a:pt x="565400" y="911469"/>
                    <a:pt x="566353" y="909175"/>
                    <a:pt x="567694" y="907091"/>
                  </a:cubicBezTo>
                  <a:cubicBezTo>
                    <a:pt x="569794" y="903796"/>
                    <a:pt x="572621" y="901275"/>
                    <a:pt x="575351" y="898836"/>
                  </a:cubicBezTo>
                  <a:cubicBezTo>
                    <a:pt x="576853" y="897495"/>
                    <a:pt x="578275" y="896235"/>
                    <a:pt x="579551" y="894878"/>
                  </a:cubicBezTo>
                  <a:cubicBezTo>
                    <a:pt x="582394" y="891858"/>
                    <a:pt x="585060" y="886963"/>
                    <a:pt x="583283" y="883134"/>
                  </a:cubicBezTo>
                  <a:cubicBezTo>
                    <a:pt x="582943" y="882407"/>
                    <a:pt x="582491" y="881955"/>
                    <a:pt x="582217" y="881890"/>
                  </a:cubicBezTo>
                  <a:cubicBezTo>
                    <a:pt x="581264" y="881664"/>
                    <a:pt x="579664" y="884362"/>
                    <a:pt x="578776" y="885784"/>
                  </a:cubicBezTo>
                  <a:lnTo>
                    <a:pt x="578275" y="886607"/>
                  </a:lnTo>
                  <a:cubicBezTo>
                    <a:pt x="574818" y="892100"/>
                    <a:pt x="568550" y="895121"/>
                    <a:pt x="563009" y="893941"/>
                  </a:cubicBezTo>
                  <a:cubicBezTo>
                    <a:pt x="559601" y="893214"/>
                    <a:pt x="556580" y="890646"/>
                    <a:pt x="555142" y="887221"/>
                  </a:cubicBezTo>
                  <a:cubicBezTo>
                    <a:pt x="553866" y="884200"/>
                    <a:pt x="554044" y="881018"/>
                    <a:pt x="555643" y="878482"/>
                  </a:cubicBezTo>
                  <a:cubicBezTo>
                    <a:pt x="556935" y="876430"/>
                    <a:pt x="558842" y="875170"/>
                    <a:pt x="560505" y="874056"/>
                  </a:cubicBezTo>
                  <a:cubicBezTo>
                    <a:pt x="561620" y="873329"/>
                    <a:pt x="562654" y="872634"/>
                    <a:pt x="563348" y="871826"/>
                  </a:cubicBezTo>
                  <a:cubicBezTo>
                    <a:pt x="565190" y="869694"/>
                    <a:pt x="565093" y="866447"/>
                    <a:pt x="564964" y="862683"/>
                  </a:cubicBezTo>
                  <a:cubicBezTo>
                    <a:pt x="564883" y="860147"/>
                    <a:pt x="564802" y="857530"/>
                    <a:pt x="565335" y="854929"/>
                  </a:cubicBezTo>
                  <a:cubicBezTo>
                    <a:pt x="565949" y="851924"/>
                    <a:pt x="567306" y="849356"/>
                    <a:pt x="568631" y="846868"/>
                  </a:cubicBezTo>
                  <a:cubicBezTo>
                    <a:pt x="569455" y="845301"/>
                    <a:pt x="570246" y="843815"/>
                    <a:pt x="570812" y="842296"/>
                  </a:cubicBezTo>
                  <a:cubicBezTo>
                    <a:pt x="571733" y="839793"/>
                    <a:pt x="570505" y="834316"/>
                    <a:pt x="569746" y="832669"/>
                  </a:cubicBezTo>
                  <a:cubicBezTo>
                    <a:pt x="564867" y="829664"/>
                    <a:pt x="561862" y="826094"/>
                    <a:pt x="561038" y="822314"/>
                  </a:cubicBezTo>
                  <a:cubicBezTo>
                    <a:pt x="560425" y="819503"/>
                    <a:pt x="561038" y="816676"/>
                    <a:pt x="562848" y="814091"/>
                  </a:cubicBezTo>
                  <a:cubicBezTo>
                    <a:pt x="567177" y="807872"/>
                    <a:pt x="574592" y="805465"/>
                    <a:pt x="581797" y="803526"/>
                  </a:cubicBezTo>
                  <a:cubicBezTo>
                    <a:pt x="585480" y="802541"/>
                    <a:pt x="589211" y="801346"/>
                    <a:pt x="590811" y="798648"/>
                  </a:cubicBezTo>
                  <a:cubicBezTo>
                    <a:pt x="591667" y="797210"/>
                    <a:pt x="591796" y="795530"/>
                    <a:pt x="591182" y="793688"/>
                  </a:cubicBezTo>
                  <a:cubicBezTo>
                    <a:pt x="590132" y="790522"/>
                    <a:pt x="587128" y="787421"/>
                    <a:pt x="583703" y="785967"/>
                  </a:cubicBezTo>
                  <a:cubicBezTo>
                    <a:pt x="580634" y="784674"/>
                    <a:pt x="577289" y="784077"/>
                    <a:pt x="573752" y="783447"/>
                  </a:cubicBezTo>
                  <a:cubicBezTo>
                    <a:pt x="570214" y="782817"/>
                    <a:pt x="566563" y="782154"/>
                    <a:pt x="563058" y="780749"/>
                  </a:cubicBezTo>
                  <a:cubicBezTo>
                    <a:pt x="558955" y="779117"/>
                    <a:pt x="555514" y="775935"/>
                    <a:pt x="554092" y="772446"/>
                  </a:cubicBezTo>
                  <a:cubicBezTo>
                    <a:pt x="553091" y="770006"/>
                    <a:pt x="553091" y="767519"/>
                    <a:pt x="554092" y="765241"/>
                  </a:cubicBezTo>
                  <a:cubicBezTo>
                    <a:pt x="555982" y="760895"/>
                    <a:pt x="560667" y="759248"/>
                    <a:pt x="564027" y="758392"/>
                  </a:cubicBezTo>
                  <a:cubicBezTo>
                    <a:pt x="568518" y="757244"/>
                    <a:pt x="573138" y="756566"/>
                    <a:pt x="577613" y="755904"/>
                  </a:cubicBezTo>
                  <a:cubicBezTo>
                    <a:pt x="584963" y="754821"/>
                    <a:pt x="591909" y="753788"/>
                    <a:pt x="598274" y="750880"/>
                  </a:cubicBezTo>
                  <a:cubicBezTo>
                    <a:pt x="604122" y="748198"/>
                    <a:pt x="609162" y="742447"/>
                    <a:pt x="607498" y="737456"/>
                  </a:cubicBezTo>
                  <a:cubicBezTo>
                    <a:pt x="606448" y="734338"/>
                    <a:pt x="603136" y="731947"/>
                    <a:pt x="597353" y="730154"/>
                  </a:cubicBezTo>
                  <a:cubicBezTo>
                    <a:pt x="584559" y="726196"/>
                    <a:pt x="570408" y="725970"/>
                    <a:pt x="557484" y="729508"/>
                  </a:cubicBezTo>
                  <a:cubicBezTo>
                    <a:pt x="555578" y="730025"/>
                    <a:pt x="553688" y="730639"/>
                    <a:pt x="551782" y="731236"/>
                  </a:cubicBezTo>
                  <a:cubicBezTo>
                    <a:pt x="547227" y="732690"/>
                    <a:pt x="542510" y="734193"/>
                    <a:pt x="537518" y="734629"/>
                  </a:cubicBezTo>
                  <a:cubicBezTo>
                    <a:pt x="535822" y="734774"/>
                    <a:pt x="533851" y="734806"/>
                    <a:pt x="531977" y="733821"/>
                  </a:cubicBezTo>
                  <a:cubicBezTo>
                    <a:pt x="528132" y="731818"/>
                    <a:pt x="527438" y="727198"/>
                    <a:pt x="528003" y="723870"/>
                  </a:cubicBezTo>
                  <a:cubicBezTo>
                    <a:pt x="529715" y="713903"/>
                    <a:pt x="539812" y="706973"/>
                    <a:pt x="555724" y="704856"/>
                  </a:cubicBezTo>
                  <a:lnTo>
                    <a:pt x="557016" y="704679"/>
                  </a:lnTo>
                  <a:cubicBezTo>
                    <a:pt x="566757" y="703403"/>
                    <a:pt x="577823" y="701949"/>
                    <a:pt x="582653" y="694324"/>
                  </a:cubicBezTo>
                  <a:cubicBezTo>
                    <a:pt x="583767" y="692579"/>
                    <a:pt x="584511" y="690544"/>
                    <a:pt x="585286" y="688395"/>
                  </a:cubicBezTo>
                  <a:cubicBezTo>
                    <a:pt x="585706" y="687232"/>
                    <a:pt x="586142" y="686069"/>
                    <a:pt x="586627" y="684938"/>
                  </a:cubicBezTo>
                  <a:cubicBezTo>
                    <a:pt x="593153" y="669656"/>
                    <a:pt x="611036" y="660255"/>
                    <a:pt x="627319" y="663550"/>
                  </a:cubicBezTo>
                  <a:cubicBezTo>
                    <a:pt x="629306" y="663954"/>
                    <a:pt x="631794" y="664665"/>
                    <a:pt x="633587" y="666652"/>
                  </a:cubicBezTo>
                  <a:cubicBezTo>
                    <a:pt x="635025" y="668251"/>
                    <a:pt x="635558" y="670173"/>
                    <a:pt x="635978" y="671724"/>
                  </a:cubicBezTo>
                  <a:lnTo>
                    <a:pt x="642132" y="693936"/>
                  </a:lnTo>
                  <a:cubicBezTo>
                    <a:pt x="643118" y="697474"/>
                    <a:pt x="644184" y="700786"/>
                    <a:pt x="646526" y="702352"/>
                  </a:cubicBezTo>
                  <a:cubicBezTo>
                    <a:pt x="649273" y="704194"/>
                    <a:pt x="653392" y="703063"/>
                    <a:pt x="655864" y="701060"/>
                  </a:cubicBezTo>
                  <a:cubicBezTo>
                    <a:pt x="659014" y="698524"/>
                    <a:pt x="660985" y="694437"/>
                    <a:pt x="662584" y="690802"/>
                  </a:cubicBezTo>
                  <a:cubicBezTo>
                    <a:pt x="665298" y="684664"/>
                    <a:pt x="667640" y="678121"/>
                    <a:pt x="666461" y="671870"/>
                  </a:cubicBezTo>
                  <a:cubicBezTo>
                    <a:pt x="665782" y="668299"/>
                    <a:pt x="663989" y="664972"/>
                    <a:pt x="662067" y="661466"/>
                  </a:cubicBezTo>
                  <a:cubicBezTo>
                    <a:pt x="660855" y="659237"/>
                    <a:pt x="659611" y="656943"/>
                    <a:pt x="658626" y="654504"/>
                  </a:cubicBezTo>
                  <a:cubicBezTo>
                    <a:pt x="654587" y="644569"/>
                    <a:pt x="655395" y="632615"/>
                    <a:pt x="660726" y="623294"/>
                  </a:cubicBezTo>
                  <a:cubicBezTo>
                    <a:pt x="662697" y="619853"/>
                    <a:pt x="667059" y="613957"/>
                    <a:pt x="674005" y="613262"/>
                  </a:cubicBezTo>
                  <a:cubicBezTo>
                    <a:pt x="677591" y="612907"/>
                    <a:pt x="681048" y="614038"/>
                    <a:pt x="684037" y="616525"/>
                  </a:cubicBezTo>
                  <a:cubicBezTo>
                    <a:pt x="688220" y="620015"/>
                    <a:pt x="691112" y="625911"/>
                    <a:pt x="691597" y="631920"/>
                  </a:cubicBezTo>
                  <a:cubicBezTo>
                    <a:pt x="691920" y="635975"/>
                    <a:pt x="691516" y="639965"/>
                    <a:pt x="691112" y="643826"/>
                  </a:cubicBezTo>
                  <a:cubicBezTo>
                    <a:pt x="690676" y="647978"/>
                    <a:pt x="690272" y="651919"/>
                    <a:pt x="690757" y="655764"/>
                  </a:cubicBezTo>
                  <a:cubicBezTo>
                    <a:pt x="691274" y="659996"/>
                    <a:pt x="693745" y="664309"/>
                    <a:pt x="696895" y="666506"/>
                  </a:cubicBezTo>
                  <a:cubicBezTo>
                    <a:pt x="698252" y="667459"/>
                    <a:pt x="699641" y="667960"/>
                    <a:pt x="701031" y="667992"/>
                  </a:cubicBezTo>
                  <a:cubicBezTo>
                    <a:pt x="703179" y="659802"/>
                    <a:pt x="707606" y="658316"/>
                    <a:pt x="710174" y="658187"/>
                  </a:cubicBezTo>
                  <a:cubicBezTo>
                    <a:pt x="712274" y="658122"/>
                    <a:pt x="714261" y="658801"/>
                    <a:pt x="715828" y="660222"/>
                  </a:cubicBezTo>
                  <a:cubicBezTo>
                    <a:pt x="719382" y="663469"/>
                    <a:pt x="720174" y="669705"/>
                    <a:pt x="720319" y="673130"/>
                  </a:cubicBezTo>
                  <a:cubicBezTo>
                    <a:pt x="720400" y="674874"/>
                    <a:pt x="721563" y="675682"/>
                    <a:pt x="724664" y="677378"/>
                  </a:cubicBezTo>
                  <a:cubicBezTo>
                    <a:pt x="725698" y="677943"/>
                    <a:pt x="726829" y="678574"/>
                    <a:pt x="727944" y="679333"/>
                  </a:cubicBezTo>
                  <a:cubicBezTo>
                    <a:pt x="728525" y="673081"/>
                    <a:pt x="729850" y="666926"/>
                    <a:pt x="731869" y="660949"/>
                  </a:cubicBezTo>
                  <a:cubicBezTo>
                    <a:pt x="734098" y="654375"/>
                    <a:pt x="738977" y="647671"/>
                    <a:pt x="746004" y="648656"/>
                  </a:cubicBezTo>
                  <a:cubicBezTo>
                    <a:pt x="752595" y="649561"/>
                    <a:pt x="755923" y="656895"/>
                    <a:pt x="755228" y="663162"/>
                  </a:cubicBezTo>
                  <a:cubicBezTo>
                    <a:pt x="754889" y="666264"/>
                    <a:pt x="753871" y="669091"/>
                    <a:pt x="752886" y="671821"/>
                  </a:cubicBezTo>
                  <a:cubicBezTo>
                    <a:pt x="752191" y="673760"/>
                    <a:pt x="751529" y="675601"/>
                    <a:pt x="751125" y="677443"/>
                  </a:cubicBezTo>
                  <a:cubicBezTo>
                    <a:pt x="749348" y="685665"/>
                    <a:pt x="753031" y="695212"/>
                    <a:pt x="760268" y="701189"/>
                  </a:cubicBezTo>
                  <a:cubicBezTo>
                    <a:pt x="766827" y="706601"/>
                    <a:pt x="776309" y="709380"/>
                    <a:pt x="786293" y="708863"/>
                  </a:cubicBezTo>
                  <a:cubicBezTo>
                    <a:pt x="790767" y="708620"/>
                    <a:pt x="793724" y="707570"/>
                    <a:pt x="795339" y="705664"/>
                  </a:cubicBezTo>
                  <a:cubicBezTo>
                    <a:pt x="795727" y="705196"/>
                    <a:pt x="796066" y="704679"/>
                    <a:pt x="796421" y="704146"/>
                  </a:cubicBezTo>
                  <a:cubicBezTo>
                    <a:pt x="797358" y="702740"/>
                    <a:pt x="798505" y="700979"/>
                    <a:pt x="800525" y="699962"/>
                  </a:cubicBezTo>
                  <a:cubicBezTo>
                    <a:pt x="805306" y="697555"/>
                    <a:pt x="809442" y="701093"/>
                    <a:pt x="812446" y="703677"/>
                  </a:cubicBezTo>
                  <a:cubicBezTo>
                    <a:pt x="814579" y="705503"/>
                    <a:pt x="816759" y="707393"/>
                    <a:pt x="818456" y="707005"/>
                  </a:cubicBezTo>
                  <a:cubicBezTo>
                    <a:pt x="820152" y="706601"/>
                    <a:pt x="820976" y="704113"/>
                    <a:pt x="821961" y="700656"/>
                  </a:cubicBezTo>
                  <a:cubicBezTo>
                    <a:pt x="822139" y="700010"/>
                    <a:pt x="822317" y="699380"/>
                    <a:pt x="822510" y="698782"/>
                  </a:cubicBezTo>
                  <a:cubicBezTo>
                    <a:pt x="824772" y="691513"/>
                    <a:pt x="831040" y="685811"/>
                    <a:pt x="839295" y="683533"/>
                  </a:cubicBezTo>
                  <a:cubicBezTo>
                    <a:pt x="847533" y="681239"/>
                    <a:pt x="855853" y="682903"/>
                    <a:pt x="861523" y="687975"/>
                  </a:cubicBezTo>
                  <a:cubicBezTo>
                    <a:pt x="862993" y="689284"/>
                    <a:pt x="864253" y="690738"/>
                    <a:pt x="865464" y="692127"/>
                  </a:cubicBezTo>
                  <a:cubicBezTo>
                    <a:pt x="867015" y="693904"/>
                    <a:pt x="868469" y="695568"/>
                    <a:pt x="870181" y="696796"/>
                  </a:cubicBezTo>
                  <a:cubicBezTo>
                    <a:pt x="872395" y="698362"/>
                    <a:pt x="875755" y="698863"/>
                    <a:pt x="877354" y="697409"/>
                  </a:cubicBezTo>
                  <a:cubicBezTo>
                    <a:pt x="877742" y="695681"/>
                    <a:pt x="877774" y="693549"/>
                    <a:pt x="877806" y="691465"/>
                  </a:cubicBezTo>
                  <a:cubicBezTo>
                    <a:pt x="877887" y="686441"/>
                    <a:pt x="877984" y="680189"/>
                    <a:pt x="883977" y="678154"/>
                  </a:cubicBezTo>
                  <a:cubicBezTo>
                    <a:pt x="886901" y="677168"/>
                    <a:pt x="890407" y="677927"/>
                    <a:pt x="893379" y="680205"/>
                  </a:cubicBezTo>
                  <a:cubicBezTo>
                    <a:pt x="899356" y="684777"/>
                    <a:pt x="900955" y="692337"/>
                    <a:pt x="902086" y="699687"/>
                  </a:cubicBezTo>
                  <a:cubicBezTo>
                    <a:pt x="903088" y="706165"/>
                    <a:pt x="904315" y="712255"/>
                    <a:pt x="908483" y="715551"/>
                  </a:cubicBezTo>
                  <a:cubicBezTo>
                    <a:pt x="910470" y="717134"/>
                    <a:pt x="913878" y="717376"/>
                    <a:pt x="916415" y="716116"/>
                  </a:cubicBezTo>
                  <a:cubicBezTo>
                    <a:pt x="917481" y="715583"/>
                    <a:pt x="918741" y="714597"/>
                    <a:pt x="918725" y="712917"/>
                  </a:cubicBezTo>
                  <a:cubicBezTo>
                    <a:pt x="918709" y="711706"/>
                    <a:pt x="918079" y="710317"/>
                    <a:pt x="917465" y="708960"/>
                  </a:cubicBezTo>
                  <a:cubicBezTo>
                    <a:pt x="917029" y="707990"/>
                    <a:pt x="916576" y="707086"/>
                    <a:pt x="916140" y="706197"/>
                  </a:cubicBezTo>
                  <a:cubicBezTo>
                    <a:pt x="914492" y="702853"/>
                    <a:pt x="912942" y="699703"/>
                    <a:pt x="912538" y="695390"/>
                  </a:cubicBezTo>
                  <a:cubicBezTo>
                    <a:pt x="911956" y="689300"/>
                    <a:pt x="915300" y="682402"/>
                    <a:pt x="921019" y="677847"/>
                  </a:cubicBezTo>
                  <a:cubicBezTo>
                    <a:pt x="922311" y="676829"/>
                    <a:pt x="923846" y="676086"/>
                    <a:pt x="925493" y="675617"/>
                  </a:cubicBezTo>
                  <a:cubicBezTo>
                    <a:pt x="915446" y="628334"/>
                    <a:pt x="947221" y="576333"/>
                    <a:pt x="994020" y="563927"/>
                  </a:cubicBezTo>
                  <a:lnTo>
                    <a:pt x="993987" y="56397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3" name="Free-form: Shape 332">
              <a:extLst>
                <a:ext uri="{FF2B5EF4-FFF2-40B4-BE49-F238E27FC236}">
                  <a16:creationId xmlns:a16="http://schemas.microsoft.com/office/drawing/2014/main" id="{F449C229-0A7C-F6B7-3F51-21ECCD170DAA}"/>
                </a:ext>
              </a:extLst>
            </p:cNvPr>
            <p:cNvSpPr/>
            <p:nvPr/>
          </p:nvSpPr>
          <p:spPr>
            <a:xfrm>
              <a:off x="5226103" y="4175405"/>
              <a:ext cx="1077828" cy="971607"/>
            </a:xfrm>
            <a:custGeom>
              <a:avLst/>
              <a:gdLst>
                <a:gd name="connsiteX0" fmla="*/ 1074360 w 1077828"/>
                <a:gd name="connsiteY0" fmla="*/ 402802 h 971607"/>
                <a:gd name="connsiteX1" fmla="*/ 1063860 w 1077828"/>
                <a:gd name="connsiteY1" fmla="*/ 393723 h 971607"/>
                <a:gd name="connsiteX2" fmla="*/ 1049612 w 1077828"/>
                <a:gd name="connsiteY2" fmla="*/ 375582 h 971607"/>
                <a:gd name="connsiteX3" fmla="*/ 1050904 w 1077828"/>
                <a:gd name="connsiteY3" fmla="*/ 366617 h 971607"/>
                <a:gd name="connsiteX4" fmla="*/ 1052051 w 1077828"/>
                <a:gd name="connsiteY4" fmla="*/ 360349 h 971607"/>
                <a:gd name="connsiteX5" fmla="*/ 1046785 w 1077828"/>
                <a:gd name="connsiteY5" fmla="*/ 347781 h 971607"/>
                <a:gd name="connsiteX6" fmla="*/ 1021213 w 1077828"/>
                <a:gd name="connsiteY6" fmla="*/ 320141 h 971607"/>
                <a:gd name="connsiteX7" fmla="*/ 984123 w 1077828"/>
                <a:gd name="connsiteY7" fmla="*/ 269788 h 971607"/>
                <a:gd name="connsiteX8" fmla="*/ 980359 w 1077828"/>
                <a:gd name="connsiteY8" fmla="*/ 240145 h 971607"/>
                <a:gd name="connsiteX9" fmla="*/ 976482 w 1077828"/>
                <a:gd name="connsiteY9" fmla="*/ 210793 h 971607"/>
                <a:gd name="connsiteX10" fmla="*/ 924384 w 1077828"/>
                <a:gd name="connsiteY10" fmla="*/ 156983 h 971607"/>
                <a:gd name="connsiteX11" fmla="*/ 891365 w 1077828"/>
                <a:gd name="connsiteY11" fmla="*/ 141120 h 971607"/>
                <a:gd name="connsiteX12" fmla="*/ 837879 w 1077828"/>
                <a:gd name="connsiteY12" fmla="*/ 153252 h 971607"/>
                <a:gd name="connsiteX13" fmla="*/ 821595 w 1077828"/>
                <a:gd name="connsiteY13" fmla="*/ 160037 h 971607"/>
                <a:gd name="connsiteX14" fmla="*/ 629053 w 1077828"/>
                <a:gd name="connsiteY14" fmla="*/ 149811 h 971607"/>
                <a:gd name="connsiteX15" fmla="*/ 603869 w 1077828"/>
                <a:gd name="connsiteY15" fmla="*/ 137033 h 971607"/>
                <a:gd name="connsiteX16" fmla="*/ 595307 w 1077828"/>
                <a:gd name="connsiteY16" fmla="*/ 112899 h 971607"/>
                <a:gd name="connsiteX17" fmla="*/ 595129 w 1077828"/>
                <a:gd name="connsiteY17" fmla="*/ 111768 h 971607"/>
                <a:gd name="connsiteX18" fmla="*/ 569945 w 1077828"/>
                <a:gd name="connsiteY18" fmla="*/ 30157 h 971607"/>
                <a:gd name="connsiteX19" fmla="*/ 566343 w 1077828"/>
                <a:gd name="connsiteY19" fmla="*/ 24632 h 971607"/>
                <a:gd name="connsiteX20" fmla="*/ 561157 w 1077828"/>
                <a:gd name="connsiteY20" fmla="*/ 23275 h 971607"/>
                <a:gd name="connsiteX21" fmla="*/ 549365 w 1077828"/>
                <a:gd name="connsiteY21" fmla="*/ 31271 h 971607"/>
                <a:gd name="connsiteX22" fmla="*/ 546408 w 1077828"/>
                <a:gd name="connsiteY22" fmla="*/ 35633 h 971607"/>
                <a:gd name="connsiteX23" fmla="*/ 531062 w 1077828"/>
                <a:gd name="connsiteY23" fmla="*/ 50269 h 971607"/>
                <a:gd name="connsiteX24" fmla="*/ 498737 w 1077828"/>
                <a:gd name="connsiteY24" fmla="*/ 33291 h 971607"/>
                <a:gd name="connsiteX25" fmla="*/ 426221 w 1077828"/>
                <a:gd name="connsiteY25" fmla="*/ 2533 h 971607"/>
                <a:gd name="connsiteX26" fmla="*/ 396352 w 1077828"/>
                <a:gd name="connsiteY26" fmla="*/ 26118 h 971607"/>
                <a:gd name="connsiteX27" fmla="*/ 340991 w 1077828"/>
                <a:gd name="connsiteY27" fmla="*/ 91284 h 971607"/>
                <a:gd name="connsiteX28" fmla="*/ 337373 w 1077828"/>
                <a:gd name="connsiteY28" fmla="*/ 96502 h 971607"/>
                <a:gd name="connsiteX29" fmla="*/ 300364 w 1077828"/>
                <a:gd name="connsiteY29" fmla="*/ 133221 h 971607"/>
                <a:gd name="connsiteX30" fmla="*/ 234261 w 1077828"/>
                <a:gd name="connsiteY30" fmla="*/ 126985 h 971607"/>
                <a:gd name="connsiteX31" fmla="*/ 215392 w 1077828"/>
                <a:gd name="connsiteY31" fmla="*/ 116404 h 971607"/>
                <a:gd name="connsiteX32" fmla="*/ 206701 w 1077828"/>
                <a:gd name="connsiteY32" fmla="*/ 85937 h 971607"/>
                <a:gd name="connsiteX33" fmla="*/ 206572 w 1077828"/>
                <a:gd name="connsiteY33" fmla="*/ 83433 h 971607"/>
                <a:gd name="connsiteX34" fmla="*/ 182357 w 1077828"/>
                <a:gd name="connsiteY34" fmla="*/ 2888 h 971607"/>
                <a:gd name="connsiteX35" fmla="*/ 179239 w 1077828"/>
                <a:gd name="connsiteY35" fmla="*/ 5505 h 971607"/>
                <a:gd name="connsiteX36" fmla="*/ 172245 w 1077828"/>
                <a:gd name="connsiteY36" fmla="*/ 5134 h 971607"/>
                <a:gd name="connsiteX37" fmla="*/ 171921 w 1077828"/>
                <a:gd name="connsiteY37" fmla="*/ 5037 h 971607"/>
                <a:gd name="connsiteX38" fmla="*/ 147383 w 1077828"/>
                <a:gd name="connsiteY38" fmla="*/ 8365 h 971607"/>
                <a:gd name="connsiteX39" fmla="*/ 139225 w 1077828"/>
                <a:gd name="connsiteY39" fmla="*/ 30124 h 971607"/>
                <a:gd name="connsiteX40" fmla="*/ 139920 w 1077828"/>
                <a:gd name="connsiteY40" fmla="*/ 31594 h 971607"/>
                <a:gd name="connsiteX41" fmla="*/ 142731 w 1077828"/>
                <a:gd name="connsiteY41" fmla="*/ 30383 h 971607"/>
                <a:gd name="connsiteX42" fmla="*/ 164878 w 1077828"/>
                <a:gd name="connsiteY42" fmla="*/ 22209 h 971607"/>
                <a:gd name="connsiteX43" fmla="*/ 177430 w 1077828"/>
                <a:gd name="connsiteY43" fmla="*/ 27911 h 971607"/>
                <a:gd name="connsiteX44" fmla="*/ 172600 w 1077828"/>
                <a:gd name="connsiteY44" fmla="*/ 37782 h 971607"/>
                <a:gd name="connsiteX45" fmla="*/ 142392 w 1077828"/>
                <a:gd name="connsiteY45" fmla="*/ 53677 h 971607"/>
                <a:gd name="connsiteX46" fmla="*/ 142198 w 1077828"/>
                <a:gd name="connsiteY46" fmla="*/ 69314 h 971607"/>
                <a:gd name="connsiteX47" fmla="*/ 136124 w 1077828"/>
                <a:gd name="connsiteY47" fmla="*/ 74678 h 971607"/>
                <a:gd name="connsiteX48" fmla="*/ 119808 w 1077828"/>
                <a:gd name="connsiteY48" fmla="*/ 69024 h 971607"/>
                <a:gd name="connsiteX49" fmla="*/ 109146 w 1077828"/>
                <a:gd name="connsiteY49" fmla="*/ 64791 h 971607"/>
                <a:gd name="connsiteX50" fmla="*/ 106804 w 1077828"/>
                <a:gd name="connsiteY50" fmla="*/ 75663 h 971607"/>
                <a:gd name="connsiteX51" fmla="*/ 115495 w 1077828"/>
                <a:gd name="connsiteY51" fmla="*/ 100072 h 971607"/>
                <a:gd name="connsiteX52" fmla="*/ 118015 w 1077828"/>
                <a:gd name="connsiteY52" fmla="*/ 128455 h 971607"/>
                <a:gd name="connsiteX53" fmla="*/ 111957 w 1077828"/>
                <a:gd name="connsiteY53" fmla="*/ 131944 h 971607"/>
                <a:gd name="connsiteX54" fmla="*/ 109518 w 1077828"/>
                <a:gd name="connsiteY54" fmla="*/ 133059 h 971607"/>
                <a:gd name="connsiteX55" fmla="*/ 105544 w 1077828"/>
                <a:gd name="connsiteY55" fmla="*/ 157226 h 971607"/>
                <a:gd name="connsiteX56" fmla="*/ 98242 w 1077828"/>
                <a:gd name="connsiteY56" fmla="*/ 176918 h 971607"/>
                <a:gd name="connsiteX57" fmla="*/ 89180 w 1077828"/>
                <a:gd name="connsiteY57" fmla="*/ 182604 h 971607"/>
                <a:gd name="connsiteX58" fmla="*/ 81135 w 1077828"/>
                <a:gd name="connsiteY58" fmla="*/ 187580 h 971607"/>
                <a:gd name="connsiteX59" fmla="*/ 75739 w 1077828"/>
                <a:gd name="connsiteY59" fmla="*/ 201569 h 971607"/>
                <a:gd name="connsiteX60" fmla="*/ 91360 w 1077828"/>
                <a:gd name="connsiteY60" fmla="*/ 206674 h 971607"/>
                <a:gd name="connsiteX61" fmla="*/ 113185 w 1077828"/>
                <a:gd name="connsiteY61" fmla="*/ 202037 h 971607"/>
                <a:gd name="connsiteX62" fmla="*/ 145332 w 1077828"/>
                <a:gd name="connsiteY62" fmla="*/ 196997 h 971607"/>
                <a:gd name="connsiteX63" fmla="*/ 151276 w 1077828"/>
                <a:gd name="connsiteY63" fmla="*/ 199033 h 971607"/>
                <a:gd name="connsiteX64" fmla="*/ 149903 w 1077828"/>
                <a:gd name="connsiteY64" fmla="*/ 211811 h 971607"/>
                <a:gd name="connsiteX65" fmla="*/ 106739 w 1077828"/>
                <a:gd name="connsiteY65" fmla="*/ 234879 h 971607"/>
                <a:gd name="connsiteX66" fmla="*/ 92540 w 1077828"/>
                <a:gd name="connsiteY66" fmla="*/ 242197 h 971607"/>
                <a:gd name="connsiteX67" fmla="*/ 102071 w 1077828"/>
                <a:gd name="connsiteY67" fmla="*/ 249692 h 971607"/>
                <a:gd name="connsiteX68" fmla="*/ 102329 w 1077828"/>
                <a:gd name="connsiteY68" fmla="*/ 249806 h 971607"/>
                <a:gd name="connsiteX69" fmla="*/ 112038 w 1077828"/>
                <a:gd name="connsiteY69" fmla="*/ 259110 h 971607"/>
                <a:gd name="connsiteX70" fmla="*/ 111424 w 1077828"/>
                <a:gd name="connsiteY70" fmla="*/ 265960 h 971607"/>
                <a:gd name="connsiteX71" fmla="*/ 102345 w 1077828"/>
                <a:gd name="connsiteY71" fmla="*/ 271630 h 971607"/>
                <a:gd name="connsiteX72" fmla="*/ 97499 w 1077828"/>
                <a:gd name="connsiteY72" fmla="*/ 273827 h 971607"/>
                <a:gd name="connsiteX73" fmla="*/ 115269 w 1077828"/>
                <a:gd name="connsiteY73" fmla="*/ 281048 h 971607"/>
                <a:gd name="connsiteX74" fmla="*/ 124638 w 1077828"/>
                <a:gd name="connsiteY74" fmla="*/ 277106 h 971607"/>
                <a:gd name="connsiteX75" fmla="*/ 142537 w 1077828"/>
                <a:gd name="connsiteY75" fmla="*/ 272744 h 971607"/>
                <a:gd name="connsiteX76" fmla="*/ 149532 w 1077828"/>
                <a:gd name="connsiteY76" fmla="*/ 277785 h 971607"/>
                <a:gd name="connsiteX77" fmla="*/ 149823 w 1077828"/>
                <a:gd name="connsiteY77" fmla="*/ 284359 h 971607"/>
                <a:gd name="connsiteX78" fmla="*/ 142666 w 1077828"/>
                <a:gd name="connsiteY78" fmla="*/ 291709 h 971607"/>
                <a:gd name="connsiteX79" fmla="*/ 137125 w 1077828"/>
                <a:gd name="connsiteY79" fmla="*/ 293519 h 971607"/>
                <a:gd name="connsiteX80" fmla="*/ 131051 w 1077828"/>
                <a:gd name="connsiteY80" fmla="*/ 295764 h 971607"/>
                <a:gd name="connsiteX81" fmla="*/ 128386 w 1077828"/>
                <a:gd name="connsiteY81" fmla="*/ 300061 h 971607"/>
                <a:gd name="connsiteX82" fmla="*/ 128967 w 1077828"/>
                <a:gd name="connsiteY82" fmla="*/ 301693 h 971607"/>
                <a:gd name="connsiteX83" fmla="*/ 135558 w 1077828"/>
                <a:gd name="connsiteY83" fmla="*/ 301224 h 971607"/>
                <a:gd name="connsiteX84" fmla="*/ 136027 w 1077828"/>
                <a:gd name="connsiteY84" fmla="*/ 301095 h 971607"/>
                <a:gd name="connsiteX85" fmla="*/ 159289 w 1077828"/>
                <a:gd name="connsiteY85" fmla="*/ 301208 h 971607"/>
                <a:gd name="connsiteX86" fmla="*/ 166946 w 1077828"/>
                <a:gd name="connsiteY86" fmla="*/ 306733 h 971607"/>
                <a:gd name="connsiteX87" fmla="*/ 159903 w 1077828"/>
                <a:gd name="connsiteY87" fmla="*/ 320981 h 971607"/>
                <a:gd name="connsiteX88" fmla="*/ 141729 w 1077828"/>
                <a:gd name="connsiteY88" fmla="*/ 326425 h 971607"/>
                <a:gd name="connsiteX89" fmla="*/ 119388 w 1077828"/>
                <a:gd name="connsiteY89" fmla="*/ 336893 h 971607"/>
                <a:gd name="connsiteX90" fmla="*/ 118193 w 1077828"/>
                <a:gd name="connsiteY90" fmla="*/ 338912 h 971607"/>
                <a:gd name="connsiteX91" fmla="*/ 112199 w 1077828"/>
                <a:gd name="connsiteY91" fmla="*/ 345616 h 971607"/>
                <a:gd name="connsiteX92" fmla="*/ 94511 w 1077828"/>
                <a:gd name="connsiteY92" fmla="*/ 334744 h 971607"/>
                <a:gd name="connsiteX93" fmla="*/ 62751 w 1077828"/>
                <a:gd name="connsiteY93" fmla="*/ 270224 h 971607"/>
                <a:gd name="connsiteX94" fmla="*/ 54254 w 1077828"/>
                <a:gd name="connsiteY94" fmla="*/ 262260 h 971607"/>
                <a:gd name="connsiteX95" fmla="*/ 49198 w 1077828"/>
                <a:gd name="connsiteY95" fmla="*/ 274602 h 971607"/>
                <a:gd name="connsiteX96" fmla="*/ 42122 w 1077828"/>
                <a:gd name="connsiteY96" fmla="*/ 287784 h 971607"/>
                <a:gd name="connsiteX97" fmla="*/ 34740 w 1077828"/>
                <a:gd name="connsiteY97" fmla="*/ 288317 h 971607"/>
                <a:gd name="connsiteX98" fmla="*/ 29086 w 1077828"/>
                <a:gd name="connsiteY98" fmla="*/ 282631 h 971607"/>
                <a:gd name="connsiteX99" fmla="*/ 28828 w 1077828"/>
                <a:gd name="connsiteY99" fmla="*/ 282243 h 971607"/>
                <a:gd name="connsiteX100" fmla="*/ 17697 w 1077828"/>
                <a:gd name="connsiteY100" fmla="*/ 273132 h 971607"/>
                <a:gd name="connsiteX101" fmla="*/ 10929 w 1077828"/>
                <a:gd name="connsiteY101" fmla="*/ 275038 h 971607"/>
                <a:gd name="connsiteX102" fmla="*/ 8990 w 1077828"/>
                <a:gd name="connsiteY102" fmla="*/ 278931 h 971607"/>
                <a:gd name="connsiteX103" fmla="*/ 10622 w 1077828"/>
                <a:gd name="connsiteY103" fmla="*/ 283745 h 971607"/>
                <a:gd name="connsiteX104" fmla="*/ 34805 w 1077828"/>
                <a:gd name="connsiteY104" fmla="*/ 333743 h 971607"/>
                <a:gd name="connsiteX105" fmla="*/ 38504 w 1077828"/>
                <a:gd name="connsiteY105" fmla="*/ 323372 h 971607"/>
                <a:gd name="connsiteX106" fmla="*/ 47292 w 1077828"/>
                <a:gd name="connsiteY106" fmla="*/ 307024 h 971607"/>
                <a:gd name="connsiteX107" fmla="*/ 56742 w 1077828"/>
                <a:gd name="connsiteY107" fmla="*/ 307121 h 971607"/>
                <a:gd name="connsiteX108" fmla="*/ 67194 w 1077828"/>
                <a:gd name="connsiteY108" fmla="*/ 320092 h 971607"/>
                <a:gd name="connsiteX109" fmla="*/ 68728 w 1077828"/>
                <a:gd name="connsiteY109" fmla="*/ 327249 h 971607"/>
                <a:gd name="connsiteX110" fmla="*/ 73139 w 1077828"/>
                <a:gd name="connsiteY110" fmla="*/ 340059 h 971607"/>
                <a:gd name="connsiteX111" fmla="*/ 78130 w 1077828"/>
                <a:gd name="connsiteY111" fmla="*/ 344502 h 971607"/>
                <a:gd name="connsiteX112" fmla="*/ 82201 w 1077828"/>
                <a:gd name="connsiteY112" fmla="*/ 347829 h 971607"/>
                <a:gd name="connsiteX113" fmla="*/ 86547 w 1077828"/>
                <a:gd name="connsiteY113" fmla="*/ 362077 h 971607"/>
                <a:gd name="connsiteX114" fmla="*/ 83606 w 1077828"/>
                <a:gd name="connsiteY114" fmla="*/ 366294 h 971607"/>
                <a:gd name="connsiteX115" fmla="*/ 82443 w 1077828"/>
                <a:gd name="connsiteY115" fmla="*/ 367667 h 971607"/>
                <a:gd name="connsiteX116" fmla="*/ 81199 w 1077828"/>
                <a:gd name="connsiteY116" fmla="*/ 377537 h 971607"/>
                <a:gd name="connsiteX117" fmla="*/ 88065 w 1077828"/>
                <a:gd name="connsiteY117" fmla="*/ 384742 h 971607"/>
                <a:gd name="connsiteX118" fmla="*/ 101231 w 1077828"/>
                <a:gd name="connsiteY118" fmla="*/ 383514 h 971607"/>
                <a:gd name="connsiteX119" fmla="*/ 105059 w 1077828"/>
                <a:gd name="connsiteY119" fmla="*/ 382561 h 971607"/>
                <a:gd name="connsiteX120" fmla="*/ 122215 w 1077828"/>
                <a:gd name="connsiteY120" fmla="*/ 390654 h 971607"/>
                <a:gd name="connsiteX121" fmla="*/ 120018 w 1077828"/>
                <a:gd name="connsiteY121" fmla="*/ 399910 h 971607"/>
                <a:gd name="connsiteX122" fmla="*/ 118774 w 1077828"/>
                <a:gd name="connsiteY122" fmla="*/ 401493 h 971607"/>
                <a:gd name="connsiteX123" fmla="*/ 103799 w 1077828"/>
                <a:gd name="connsiteY123" fmla="*/ 411509 h 971607"/>
                <a:gd name="connsiteX124" fmla="*/ 100665 w 1077828"/>
                <a:gd name="connsiteY124" fmla="*/ 412721 h 971607"/>
                <a:gd name="connsiteX125" fmla="*/ 90860 w 1077828"/>
                <a:gd name="connsiteY125" fmla="*/ 421218 h 971607"/>
                <a:gd name="connsiteX126" fmla="*/ 90908 w 1077828"/>
                <a:gd name="connsiteY126" fmla="*/ 425499 h 971607"/>
                <a:gd name="connsiteX127" fmla="*/ 90634 w 1077828"/>
                <a:gd name="connsiteY127" fmla="*/ 444302 h 971607"/>
                <a:gd name="connsiteX128" fmla="*/ 89196 w 1077828"/>
                <a:gd name="connsiteY128" fmla="*/ 457565 h 971607"/>
                <a:gd name="connsiteX129" fmla="*/ 94236 w 1077828"/>
                <a:gd name="connsiteY129" fmla="*/ 467225 h 971607"/>
                <a:gd name="connsiteX130" fmla="*/ 99631 w 1077828"/>
                <a:gd name="connsiteY130" fmla="*/ 476869 h 971607"/>
                <a:gd name="connsiteX131" fmla="*/ 91942 w 1077828"/>
                <a:gd name="connsiteY131" fmla="*/ 508434 h 971607"/>
                <a:gd name="connsiteX132" fmla="*/ 85513 w 1077828"/>
                <a:gd name="connsiteY132" fmla="*/ 521148 h 971607"/>
                <a:gd name="connsiteX133" fmla="*/ 84947 w 1077828"/>
                <a:gd name="connsiteY133" fmla="*/ 529871 h 971607"/>
                <a:gd name="connsiteX134" fmla="*/ 91312 w 1077828"/>
                <a:gd name="connsiteY134" fmla="*/ 534846 h 971607"/>
                <a:gd name="connsiteX135" fmla="*/ 130615 w 1077828"/>
                <a:gd name="connsiteY135" fmla="*/ 542148 h 971607"/>
                <a:gd name="connsiteX136" fmla="*/ 137255 w 1077828"/>
                <a:gd name="connsiteY136" fmla="*/ 537883 h 971607"/>
                <a:gd name="connsiteX137" fmla="*/ 147803 w 1077828"/>
                <a:gd name="connsiteY137" fmla="*/ 531890 h 971607"/>
                <a:gd name="connsiteX138" fmla="*/ 162164 w 1077828"/>
                <a:gd name="connsiteY138" fmla="*/ 535073 h 971607"/>
                <a:gd name="connsiteX139" fmla="*/ 165137 w 1077828"/>
                <a:gd name="connsiteY139" fmla="*/ 544038 h 971607"/>
                <a:gd name="connsiteX140" fmla="*/ 163150 w 1077828"/>
                <a:gd name="connsiteY140" fmla="*/ 548448 h 971607"/>
                <a:gd name="connsiteX141" fmla="*/ 161874 w 1077828"/>
                <a:gd name="connsiteY141" fmla="*/ 551001 h 971607"/>
                <a:gd name="connsiteX142" fmla="*/ 163360 w 1077828"/>
                <a:gd name="connsiteY142" fmla="*/ 555217 h 971607"/>
                <a:gd name="connsiteX143" fmla="*/ 170952 w 1077828"/>
                <a:gd name="connsiteY143" fmla="*/ 557107 h 971607"/>
                <a:gd name="connsiteX144" fmla="*/ 180354 w 1077828"/>
                <a:gd name="connsiteY144" fmla="*/ 543764 h 971607"/>
                <a:gd name="connsiteX145" fmla="*/ 181566 w 1077828"/>
                <a:gd name="connsiteY145" fmla="*/ 537851 h 971607"/>
                <a:gd name="connsiteX146" fmla="*/ 185588 w 1077828"/>
                <a:gd name="connsiteY146" fmla="*/ 523975 h 971607"/>
                <a:gd name="connsiteX147" fmla="*/ 189465 w 1077828"/>
                <a:gd name="connsiteY147" fmla="*/ 517642 h 971607"/>
                <a:gd name="connsiteX148" fmla="*/ 194069 w 1077828"/>
                <a:gd name="connsiteY148" fmla="*/ 503911 h 971607"/>
                <a:gd name="connsiteX149" fmla="*/ 191549 w 1077828"/>
                <a:gd name="connsiteY149" fmla="*/ 500196 h 971607"/>
                <a:gd name="connsiteX150" fmla="*/ 187769 w 1077828"/>
                <a:gd name="connsiteY150" fmla="*/ 493815 h 971607"/>
                <a:gd name="connsiteX151" fmla="*/ 196427 w 1077828"/>
                <a:gd name="connsiteY151" fmla="*/ 478872 h 971607"/>
                <a:gd name="connsiteX152" fmla="*/ 207428 w 1077828"/>
                <a:gd name="connsiteY152" fmla="*/ 477402 h 971607"/>
                <a:gd name="connsiteX153" fmla="*/ 206895 w 1077828"/>
                <a:gd name="connsiteY153" fmla="*/ 466030 h 971607"/>
                <a:gd name="connsiteX154" fmla="*/ 212097 w 1077828"/>
                <a:gd name="connsiteY154" fmla="*/ 460989 h 971607"/>
                <a:gd name="connsiteX155" fmla="*/ 220093 w 1077828"/>
                <a:gd name="connsiteY155" fmla="*/ 461232 h 971607"/>
                <a:gd name="connsiteX156" fmla="*/ 247701 w 1077828"/>
                <a:gd name="connsiteY156" fmla="*/ 468017 h 971607"/>
                <a:gd name="connsiteX157" fmla="*/ 257700 w 1077828"/>
                <a:gd name="connsiteY157" fmla="*/ 474914 h 971607"/>
                <a:gd name="connsiteX158" fmla="*/ 247830 w 1077828"/>
                <a:gd name="connsiteY158" fmla="*/ 489857 h 971607"/>
                <a:gd name="connsiteX159" fmla="*/ 247362 w 1077828"/>
                <a:gd name="connsiteY159" fmla="*/ 490148 h 971607"/>
                <a:gd name="connsiteX160" fmla="*/ 227880 w 1077828"/>
                <a:gd name="connsiteY160" fmla="*/ 532456 h 971607"/>
                <a:gd name="connsiteX161" fmla="*/ 227605 w 1077828"/>
                <a:gd name="connsiteY161" fmla="*/ 541114 h 971607"/>
                <a:gd name="connsiteX162" fmla="*/ 241982 w 1077828"/>
                <a:gd name="connsiteY162" fmla="*/ 550888 h 971607"/>
                <a:gd name="connsiteX163" fmla="*/ 253807 w 1077828"/>
                <a:gd name="connsiteY163" fmla="*/ 550678 h 971607"/>
                <a:gd name="connsiteX164" fmla="*/ 263807 w 1077828"/>
                <a:gd name="connsiteY164" fmla="*/ 550290 h 971607"/>
                <a:gd name="connsiteX165" fmla="*/ 280526 w 1077828"/>
                <a:gd name="connsiteY165" fmla="*/ 555750 h 971607"/>
                <a:gd name="connsiteX166" fmla="*/ 286309 w 1077828"/>
                <a:gd name="connsiteY166" fmla="*/ 573180 h 971607"/>
                <a:gd name="connsiteX167" fmla="*/ 263920 w 1077828"/>
                <a:gd name="connsiteY167" fmla="*/ 585635 h 971607"/>
                <a:gd name="connsiteX168" fmla="*/ 245811 w 1077828"/>
                <a:gd name="connsiteY168" fmla="*/ 594068 h 971607"/>
                <a:gd name="connsiteX169" fmla="*/ 244858 w 1077828"/>
                <a:gd name="connsiteY169" fmla="*/ 601903 h 971607"/>
                <a:gd name="connsiteX170" fmla="*/ 240803 w 1077828"/>
                <a:gd name="connsiteY170" fmla="*/ 615327 h 971607"/>
                <a:gd name="connsiteX171" fmla="*/ 240286 w 1077828"/>
                <a:gd name="connsiteY171" fmla="*/ 615714 h 971607"/>
                <a:gd name="connsiteX172" fmla="*/ 231207 w 1077828"/>
                <a:gd name="connsiteY172" fmla="*/ 615892 h 971607"/>
                <a:gd name="connsiteX173" fmla="*/ 222242 w 1077828"/>
                <a:gd name="connsiteY173" fmla="*/ 602969 h 971607"/>
                <a:gd name="connsiteX174" fmla="*/ 221806 w 1077828"/>
                <a:gd name="connsiteY174" fmla="*/ 595538 h 971607"/>
                <a:gd name="connsiteX175" fmla="*/ 219819 w 1077828"/>
                <a:gd name="connsiteY175" fmla="*/ 583858 h 971607"/>
                <a:gd name="connsiteX176" fmla="*/ 202776 w 1077828"/>
                <a:gd name="connsiteY176" fmla="*/ 578237 h 971607"/>
                <a:gd name="connsiteX177" fmla="*/ 184166 w 1077828"/>
                <a:gd name="connsiteY177" fmla="*/ 589157 h 971607"/>
                <a:gd name="connsiteX178" fmla="*/ 176299 w 1077828"/>
                <a:gd name="connsiteY178" fmla="*/ 600206 h 971607"/>
                <a:gd name="connsiteX179" fmla="*/ 177301 w 1077828"/>
                <a:gd name="connsiteY179" fmla="*/ 603405 h 971607"/>
                <a:gd name="connsiteX180" fmla="*/ 180451 w 1077828"/>
                <a:gd name="connsiteY180" fmla="*/ 605586 h 971607"/>
                <a:gd name="connsiteX181" fmla="*/ 184086 w 1077828"/>
                <a:gd name="connsiteY181" fmla="*/ 607944 h 971607"/>
                <a:gd name="connsiteX182" fmla="*/ 186993 w 1077828"/>
                <a:gd name="connsiteY182" fmla="*/ 615601 h 971607"/>
                <a:gd name="connsiteX183" fmla="*/ 183569 w 1077828"/>
                <a:gd name="connsiteY183" fmla="*/ 620011 h 971607"/>
                <a:gd name="connsiteX184" fmla="*/ 179708 w 1077828"/>
                <a:gd name="connsiteY184" fmla="*/ 620399 h 971607"/>
                <a:gd name="connsiteX185" fmla="*/ 141665 w 1077828"/>
                <a:gd name="connsiteY185" fmla="*/ 600869 h 971607"/>
                <a:gd name="connsiteX186" fmla="*/ 137772 w 1077828"/>
                <a:gd name="connsiteY186" fmla="*/ 596071 h 971607"/>
                <a:gd name="connsiteX187" fmla="*/ 129420 w 1077828"/>
                <a:gd name="connsiteY187" fmla="*/ 587041 h 971607"/>
                <a:gd name="connsiteX188" fmla="*/ 115285 w 1077828"/>
                <a:gd name="connsiteY188" fmla="*/ 585506 h 971607"/>
                <a:gd name="connsiteX189" fmla="*/ 94220 w 1077828"/>
                <a:gd name="connsiteY189" fmla="*/ 584149 h 971607"/>
                <a:gd name="connsiteX190" fmla="*/ 80489 w 1077828"/>
                <a:gd name="connsiteY190" fmla="*/ 584375 h 971607"/>
                <a:gd name="connsiteX191" fmla="*/ 83122 w 1077828"/>
                <a:gd name="connsiteY191" fmla="*/ 592856 h 971607"/>
                <a:gd name="connsiteX192" fmla="*/ 92960 w 1077828"/>
                <a:gd name="connsiteY192" fmla="*/ 597186 h 971607"/>
                <a:gd name="connsiteX193" fmla="*/ 94801 w 1077828"/>
                <a:gd name="connsiteY193" fmla="*/ 597751 h 971607"/>
                <a:gd name="connsiteX194" fmla="*/ 142295 w 1077828"/>
                <a:gd name="connsiteY194" fmla="*/ 631497 h 971607"/>
                <a:gd name="connsiteX195" fmla="*/ 142731 w 1077828"/>
                <a:gd name="connsiteY195" fmla="*/ 632079 h 971607"/>
                <a:gd name="connsiteX196" fmla="*/ 151454 w 1077828"/>
                <a:gd name="connsiteY196" fmla="*/ 639736 h 971607"/>
                <a:gd name="connsiteX197" fmla="*/ 159224 w 1077828"/>
                <a:gd name="connsiteY197" fmla="*/ 637975 h 971607"/>
                <a:gd name="connsiteX198" fmla="*/ 164038 w 1077828"/>
                <a:gd name="connsiteY198" fmla="*/ 636263 h 971607"/>
                <a:gd name="connsiteX199" fmla="*/ 182422 w 1077828"/>
                <a:gd name="connsiteY199" fmla="*/ 640560 h 971607"/>
                <a:gd name="connsiteX200" fmla="*/ 190822 w 1077828"/>
                <a:gd name="connsiteY200" fmla="*/ 657457 h 971607"/>
                <a:gd name="connsiteX201" fmla="*/ 198802 w 1077828"/>
                <a:gd name="connsiteY201" fmla="*/ 668733 h 971607"/>
                <a:gd name="connsiteX202" fmla="*/ 202614 w 1077828"/>
                <a:gd name="connsiteY202" fmla="*/ 671075 h 971607"/>
                <a:gd name="connsiteX203" fmla="*/ 213470 w 1077828"/>
                <a:gd name="connsiteY203" fmla="*/ 679491 h 971607"/>
                <a:gd name="connsiteX204" fmla="*/ 216863 w 1077828"/>
                <a:gd name="connsiteY204" fmla="*/ 691672 h 971607"/>
                <a:gd name="connsiteX205" fmla="*/ 212339 w 1077828"/>
                <a:gd name="connsiteY205" fmla="*/ 699167 h 971607"/>
                <a:gd name="connsiteX206" fmla="*/ 195410 w 1077828"/>
                <a:gd name="connsiteY206" fmla="*/ 697196 h 971607"/>
                <a:gd name="connsiteX207" fmla="*/ 191210 w 1077828"/>
                <a:gd name="connsiteY207" fmla="*/ 693723 h 971607"/>
                <a:gd name="connsiteX208" fmla="*/ 184279 w 1077828"/>
                <a:gd name="connsiteY208" fmla="*/ 688715 h 971607"/>
                <a:gd name="connsiteX209" fmla="*/ 177818 w 1077828"/>
                <a:gd name="connsiteY209" fmla="*/ 688570 h 971607"/>
                <a:gd name="connsiteX210" fmla="*/ 175718 w 1077828"/>
                <a:gd name="connsiteY210" fmla="*/ 690654 h 971607"/>
                <a:gd name="connsiteX211" fmla="*/ 171275 w 1077828"/>
                <a:gd name="connsiteY211" fmla="*/ 695532 h 971607"/>
                <a:gd name="connsiteX212" fmla="*/ 156947 w 1077828"/>
                <a:gd name="connsiteY212" fmla="*/ 694757 h 971607"/>
                <a:gd name="connsiteX213" fmla="*/ 132344 w 1077828"/>
                <a:gd name="connsiteY213" fmla="*/ 681850 h 971607"/>
                <a:gd name="connsiteX214" fmla="*/ 119857 w 1077828"/>
                <a:gd name="connsiteY214" fmla="*/ 656116 h 971607"/>
                <a:gd name="connsiteX215" fmla="*/ 111166 w 1077828"/>
                <a:gd name="connsiteY215" fmla="*/ 646585 h 971607"/>
                <a:gd name="connsiteX216" fmla="*/ 95318 w 1077828"/>
                <a:gd name="connsiteY216" fmla="*/ 649541 h 971607"/>
                <a:gd name="connsiteX217" fmla="*/ 83720 w 1077828"/>
                <a:gd name="connsiteY217" fmla="*/ 659056 h 971607"/>
                <a:gd name="connsiteX218" fmla="*/ 83720 w 1077828"/>
                <a:gd name="connsiteY218" fmla="*/ 666439 h 971607"/>
                <a:gd name="connsiteX219" fmla="*/ 86967 w 1077828"/>
                <a:gd name="connsiteY219" fmla="*/ 669556 h 971607"/>
                <a:gd name="connsiteX220" fmla="*/ 151745 w 1077828"/>
                <a:gd name="connsiteY220" fmla="*/ 717243 h 971607"/>
                <a:gd name="connsiteX221" fmla="*/ 154330 w 1077828"/>
                <a:gd name="connsiteY221" fmla="*/ 723964 h 971607"/>
                <a:gd name="connsiteX222" fmla="*/ 151050 w 1077828"/>
                <a:gd name="connsiteY222" fmla="*/ 730280 h 971607"/>
                <a:gd name="connsiteX223" fmla="*/ 135736 w 1077828"/>
                <a:gd name="connsiteY223" fmla="*/ 731007 h 971607"/>
                <a:gd name="connsiteX224" fmla="*/ 56694 w 1077828"/>
                <a:gd name="connsiteY224" fmla="*/ 674661 h 971607"/>
                <a:gd name="connsiteX225" fmla="*/ 46759 w 1077828"/>
                <a:gd name="connsiteY225" fmla="*/ 657150 h 971607"/>
                <a:gd name="connsiteX226" fmla="*/ 52025 w 1077828"/>
                <a:gd name="connsiteY226" fmla="*/ 636699 h 971607"/>
                <a:gd name="connsiteX227" fmla="*/ 50749 w 1077828"/>
                <a:gd name="connsiteY227" fmla="*/ 619591 h 971607"/>
                <a:gd name="connsiteX228" fmla="*/ 23933 w 1077828"/>
                <a:gd name="connsiteY228" fmla="*/ 594536 h 971607"/>
                <a:gd name="connsiteX229" fmla="*/ 15016 w 1077828"/>
                <a:gd name="connsiteY229" fmla="*/ 613631 h 971607"/>
                <a:gd name="connsiteX230" fmla="*/ 6583 w 1077828"/>
                <a:gd name="connsiteY230" fmla="*/ 630689 h 971607"/>
                <a:gd name="connsiteX231" fmla="*/ 7165 w 1077828"/>
                <a:gd name="connsiteY231" fmla="*/ 638233 h 971607"/>
                <a:gd name="connsiteX232" fmla="*/ 7617 w 1077828"/>
                <a:gd name="connsiteY232" fmla="*/ 648427 h 971607"/>
                <a:gd name="connsiteX233" fmla="*/ 3530 w 1077828"/>
                <a:gd name="connsiteY233" fmla="*/ 658895 h 971607"/>
                <a:gd name="connsiteX234" fmla="*/ 1333 w 1077828"/>
                <a:gd name="connsiteY234" fmla="*/ 663321 h 971607"/>
                <a:gd name="connsiteX235" fmla="*/ 1915 w 1077828"/>
                <a:gd name="connsiteY235" fmla="*/ 674435 h 971607"/>
                <a:gd name="connsiteX236" fmla="*/ 11526 w 1077828"/>
                <a:gd name="connsiteY236" fmla="*/ 675420 h 971607"/>
                <a:gd name="connsiteX237" fmla="*/ 13546 w 1077828"/>
                <a:gd name="connsiteY237" fmla="*/ 674952 h 971607"/>
                <a:gd name="connsiteX238" fmla="*/ 25403 w 1077828"/>
                <a:gd name="connsiteY238" fmla="*/ 674096 h 971607"/>
                <a:gd name="connsiteX239" fmla="*/ 33044 w 1077828"/>
                <a:gd name="connsiteY239" fmla="*/ 680622 h 971607"/>
                <a:gd name="connsiteX240" fmla="*/ 32688 w 1077828"/>
                <a:gd name="connsiteY240" fmla="*/ 687908 h 971607"/>
                <a:gd name="connsiteX241" fmla="*/ 27341 w 1077828"/>
                <a:gd name="connsiteY241" fmla="*/ 692382 h 971607"/>
                <a:gd name="connsiteX242" fmla="*/ 24207 w 1077828"/>
                <a:gd name="connsiteY242" fmla="*/ 694870 h 971607"/>
                <a:gd name="connsiteX243" fmla="*/ 25064 w 1077828"/>
                <a:gd name="connsiteY243" fmla="*/ 698844 h 971607"/>
                <a:gd name="connsiteX244" fmla="*/ 25904 w 1077828"/>
                <a:gd name="connsiteY244" fmla="*/ 701138 h 971607"/>
                <a:gd name="connsiteX245" fmla="*/ 24385 w 1077828"/>
                <a:gd name="connsiteY245" fmla="*/ 709263 h 971607"/>
                <a:gd name="connsiteX246" fmla="*/ 19442 w 1077828"/>
                <a:gd name="connsiteY246" fmla="*/ 711105 h 971607"/>
                <a:gd name="connsiteX247" fmla="*/ 13433 w 1077828"/>
                <a:gd name="connsiteY247" fmla="*/ 713124 h 971607"/>
                <a:gd name="connsiteX248" fmla="*/ 10816 w 1077828"/>
                <a:gd name="connsiteY248" fmla="*/ 718891 h 971607"/>
                <a:gd name="connsiteX249" fmla="*/ 14095 w 1077828"/>
                <a:gd name="connsiteY249" fmla="*/ 724319 h 971607"/>
                <a:gd name="connsiteX250" fmla="*/ 20298 w 1077828"/>
                <a:gd name="connsiteY250" fmla="*/ 725628 h 971607"/>
                <a:gd name="connsiteX251" fmla="*/ 33609 w 1077828"/>
                <a:gd name="connsiteY251" fmla="*/ 730426 h 971607"/>
                <a:gd name="connsiteX252" fmla="*/ 36339 w 1077828"/>
                <a:gd name="connsiteY252" fmla="*/ 743898 h 971607"/>
                <a:gd name="connsiteX253" fmla="*/ 42429 w 1077828"/>
                <a:gd name="connsiteY253" fmla="*/ 749617 h 971607"/>
                <a:gd name="connsiteX254" fmla="*/ 51411 w 1077828"/>
                <a:gd name="connsiteY254" fmla="*/ 748421 h 971607"/>
                <a:gd name="connsiteX255" fmla="*/ 55434 w 1077828"/>
                <a:gd name="connsiteY255" fmla="*/ 743946 h 971607"/>
                <a:gd name="connsiteX256" fmla="*/ 69245 w 1077828"/>
                <a:gd name="connsiteY256" fmla="*/ 736726 h 971607"/>
                <a:gd name="connsiteX257" fmla="*/ 76692 w 1077828"/>
                <a:gd name="connsiteY257" fmla="*/ 748389 h 971607"/>
                <a:gd name="connsiteX258" fmla="*/ 77161 w 1077828"/>
                <a:gd name="connsiteY258" fmla="*/ 750360 h 971607"/>
                <a:gd name="connsiteX259" fmla="*/ 97063 w 1077828"/>
                <a:gd name="connsiteY259" fmla="*/ 766481 h 971607"/>
                <a:gd name="connsiteX260" fmla="*/ 99793 w 1077828"/>
                <a:gd name="connsiteY260" fmla="*/ 768776 h 971607"/>
                <a:gd name="connsiteX261" fmla="*/ 98242 w 1077828"/>
                <a:gd name="connsiteY261" fmla="*/ 771974 h 971607"/>
                <a:gd name="connsiteX262" fmla="*/ 95157 w 1077828"/>
                <a:gd name="connsiteY262" fmla="*/ 781844 h 971607"/>
                <a:gd name="connsiteX263" fmla="*/ 105350 w 1077828"/>
                <a:gd name="connsiteY263" fmla="*/ 787466 h 971607"/>
                <a:gd name="connsiteX264" fmla="*/ 114800 w 1077828"/>
                <a:gd name="connsiteY264" fmla="*/ 784413 h 971607"/>
                <a:gd name="connsiteX265" fmla="*/ 127013 w 1077828"/>
                <a:gd name="connsiteY265" fmla="*/ 780843 h 971607"/>
                <a:gd name="connsiteX266" fmla="*/ 131794 w 1077828"/>
                <a:gd name="connsiteY266" fmla="*/ 781230 h 971607"/>
                <a:gd name="connsiteX267" fmla="*/ 136915 w 1077828"/>
                <a:gd name="connsiteY267" fmla="*/ 781456 h 971607"/>
                <a:gd name="connsiteX268" fmla="*/ 147965 w 1077828"/>
                <a:gd name="connsiteY268" fmla="*/ 769729 h 971607"/>
                <a:gd name="connsiteX269" fmla="*/ 151002 w 1077828"/>
                <a:gd name="connsiteY269" fmla="*/ 764478 h 971607"/>
                <a:gd name="connsiteX270" fmla="*/ 167867 w 1077828"/>
                <a:gd name="connsiteY270" fmla="*/ 751991 h 971607"/>
                <a:gd name="connsiteX271" fmla="*/ 187801 w 1077828"/>
                <a:gd name="connsiteY271" fmla="*/ 759778 h 971607"/>
                <a:gd name="connsiteX272" fmla="*/ 189449 w 1077828"/>
                <a:gd name="connsiteY272" fmla="*/ 773590 h 971607"/>
                <a:gd name="connsiteX273" fmla="*/ 174684 w 1077828"/>
                <a:gd name="connsiteY273" fmla="*/ 790649 h 971607"/>
                <a:gd name="connsiteX274" fmla="*/ 157124 w 1077828"/>
                <a:gd name="connsiteY274" fmla="*/ 796141 h 971607"/>
                <a:gd name="connsiteX275" fmla="*/ 142941 w 1077828"/>
                <a:gd name="connsiteY275" fmla="*/ 800212 h 971607"/>
                <a:gd name="connsiteX276" fmla="*/ 129113 w 1077828"/>
                <a:gd name="connsiteY276" fmla="*/ 821988 h 971607"/>
                <a:gd name="connsiteX277" fmla="*/ 136382 w 1077828"/>
                <a:gd name="connsiteY277" fmla="*/ 830889 h 971607"/>
                <a:gd name="connsiteX278" fmla="*/ 141455 w 1077828"/>
                <a:gd name="connsiteY278" fmla="*/ 835961 h 971607"/>
                <a:gd name="connsiteX279" fmla="*/ 145719 w 1077828"/>
                <a:gd name="connsiteY279" fmla="*/ 850435 h 971607"/>
                <a:gd name="connsiteX280" fmla="*/ 140599 w 1077828"/>
                <a:gd name="connsiteY280" fmla="*/ 857591 h 971607"/>
                <a:gd name="connsiteX281" fmla="*/ 133927 w 1077828"/>
                <a:gd name="connsiteY281" fmla="*/ 859126 h 971607"/>
                <a:gd name="connsiteX282" fmla="*/ 129226 w 1077828"/>
                <a:gd name="connsiteY282" fmla="*/ 860208 h 971607"/>
                <a:gd name="connsiteX283" fmla="*/ 127966 w 1077828"/>
                <a:gd name="connsiteY283" fmla="*/ 863084 h 971607"/>
                <a:gd name="connsiteX284" fmla="*/ 130260 w 1077828"/>
                <a:gd name="connsiteY284" fmla="*/ 867720 h 971607"/>
                <a:gd name="connsiteX285" fmla="*/ 141293 w 1077828"/>
                <a:gd name="connsiteY285" fmla="*/ 867720 h 971607"/>
                <a:gd name="connsiteX286" fmla="*/ 148466 w 1077828"/>
                <a:gd name="connsiteY286" fmla="*/ 863585 h 971607"/>
                <a:gd name="connsiteX287" fmla="*/ 153473 w 1077828"/>
                <a:gd name="connsiteY287" fmla="*/ 860499 h 971607"/>
                <a:gd name="connsiteX288" fmla="*/ 189223 w 1077828"/>
                <a:gd name="connsiteY288" fmla="*/ 857672 h 971607"/>
                <a:gd name="connsiteX289" fmla="*/ 196961 w 1077828"/>
                <a:gd name="connsiteY289" fmla="*/ 868285 h 971607"/>
                <a:gd name="connsiteX290" fmla="*/ 189207 w 1077828"/>
                <a:gd name="connsiteY290" fmla="*/ 874602 h 971607"/>
                <a:gd name="connsiteX291" fmla="*/ 136011 w 1077828"/>
                <a:gd name="connsiteY291" fmla="*/ 891273 h 971607"/>
                <a:gd name="connsiteX292" fmla="*/ 122732 w 1077828"/>
                <a:gd name="connsiteY292" fmla="*/ 902678 h 971607"/>
                <a:gd name="connsiteX293" fmla="*/ 124444 w 1077828"/>
                <a:gd name="connsiteY293" fmla="*/ 907055 h 971607"/>
                <a:gd name="connsiteX294" fmla="*/ 126787 w 1077828"/>
                <a:gd name="connsiteY294" fmla="*/ 913889 h 971607"/>
                <a:gd name="connsiteX295" fmla="*/ 126577 w 1077828"/>
                <a:gd name="connsiteY295" fmla="*/ 918040 h 971607"/>
                <a:gd name="connsiteX296" fmla="*/ 126819 w 1077828"/>
                <a:gd name="connsiteY296" fmla="*/ 922127 h 971607"/>
                <a:gd name="connsiteX297" fmla="*/ 130470 w 1077828"/>
                <a:gd name="connsiteY297" fmla="*/ 922014 h 971607"/>
                <a:gd name="connsiteX298" fmla="*/ 132586 w 1077828"/>
                <a:gd name="connsiteY298" fmla="*/ 921659 h 971607"/>
                <a:gd name="connsiteX299" fmla="*/ 134104 w 1077828"/>
                <a:gd name="connsiteY299" fmla="*/ 921562 h 971607"/>
                <a:gd name="connsiteX300" fmla="*/ 145364 w 1077828"/>
                <a:gd name="connsiteY300" fmla="*/ 926231 h 971607"/>
                <a:gd name="connsiteX301" fmla="*/ 148918 w 1077828"/>
                <a:gd name="connsiteY301" fmla="*/ 935002 h 971607"/>
                <a:gd name="connsiteX302" fmla="*/ 151115 w 1077828"/>
                <a:gd name="connsiteY302" fmla="*/ 962077 h 971607"/>
                <a:gd name="connsiteX303" fmla="*/ 162261 w 1077828"/>
                <a:gd name="connsiteY303" fmla="*/ 971156 h 971607"/>
                <a:gd name="connsiteX304" fmla="*/ 171065 w 1077828"/>
                <a:gd name="connsiteY304" fmla="*/ 969992 h 971607"/>
                <a:gd name="connsiteX305" fmla="*/ 176041 w 1077828"/>
                <a:gd name="connsiteY305" fmla="*/ 964791 h 971607"/>
                <a:gd name="connsiteX306" fmla="*/ 179498 w 1077828"/>
                <a:gd name="connsiteY306" fmla="*/ 960720 h 971607"/>
                <a:gd name="connsiteX307" fmla="*/ 208608 w 1077828"/>
                <a:gd name="connsiteY307" fmla="*/ 956794 h 971607"/>
                <a:gd name="connsiteX308" fmla="*/ 214488 w 1077828"/>
                <a:gd name="connsiteY308" fmla="*/ 945632 h 971607"/>
                <a:gd name="connsiteX309" fmla="*/ 219916 w 1077828"/>
                <a:gd name="connsiteY309" fmla="*/ 935196 h 971607"/>
                <a:gd name="connsiteX310" fmla="*/ 220223 w 1077828"/>
                <a:gd name="connsiteY310" fmla="*/ 927814 h 971607"/>
                <a:gd name="connsiteX311" fmla="*/ 220142 w 1077828"/>
                <a:gd name="connsiteY311" fmla="*/ 924325 h 971607"/>
                <a:gd name="connsiteX312" fmla="*/ 232484 w 1077828"/>
                <a:gd name="connsiteY312" fmla="*/ 887654 h 971607"/>
                <a:gd name="connsiteX313" fmla="*/ 247814 w 1077828"/>
                <a:gd name="connsiteY313" fmla="*/ 872518 h 971607"/>
                <a:gd name="connsiteX314" fmla="*/ 256941 w 1077828"/>
                <a:gd name="connsiteY314" fmla="*/ 873390 h 971607"/>
                <a:gd name="connsiteX315" fmla="*/ 258298 w 1077828"/>
                <a:gd name="connsiteY315" fmla="*/ 876960 h 971607"/>
                <a:gd name="connsiteX316" fmla="*/ 261012 w 1077828"/>
                <a:gd name="connsiteY316" fmla="*/ 882582 h 971607"/>
                <a:gd name="connsiteX317" fmla="*/ 267247 w 1077828"/>
                <a:gd name="connsiteY317" fmla="*/ 882744 h 971607"/>
                <a:gd name="connsiteX318" fmla="*/ 270010 w 1077828"/>
                <a:gd name="connsiteY318" fmla="*/ 878430 h 971607"/>
                <a:gd name="connsiteX319" fmla="*/ 278539 w 1077828"/>
                <a:gd name="connsiteY319" fmla="*/ 870628 h 971607"/>
                <a:gd name="connsiteX320" fmla="*/ 284694 w 1077828"/>
                <a:gd name="connsiteY320" fmla="*/ 871952 h 971607"/>
                <a:gd name="connsiteX321" fmla="*/ 286229 w 1077828"/>
                <a:gd name="connsiteY321" fmla="*/ 872566 h 971607"/>
                <a:gd name="connsiteX322" fmla="*/ 309523 w 1077828"/>
                <a:gd name="connsiteY322" fmla="*/ 858415 h 971607"/>
                <a:gd name="connsiteX323" fmla="*/ 314224 w 1077828"/>
                <a:gd name="connsiteY323" fmla="*/ 845637 h 971607"/>
                <a:gd name="connsiteX324" fmla="*/ 312415 w 1077828"/>
                <a:gd name="connsiteY324" fmla="*/ 842794 h 971607"/>
                <a:gd name="connsiteX325" fmla="*/ 307827 w 1077828"/>
                <a:gd name="connsiteY325" fmla="*/ 841308 h 971607"/>
                <a:gd name="connsiteX326" fmla="*/ 298942 w 1077828"/>
                <a:gd name="connsiteY326" fmla="*/ 836090 h 971607"/>
                <a:gd name="connsiteX327" fmla="*/ 299104 w 1077828"/>
                <a:gd name="connsiteY327" fmla="*/ 829079 h 971607"/>
                <a:gd name="connsiteX328" fmla="*/ 310234 w 1077828"/>
                <a:gd name="connsiteY328" fmla="*/ 822343 h 971607"/>
                <a:gd name="connsiteX329" fmla="*/ 312334 w 1077828"/>
                <a:gd name="connsiteY329" fmla="*/ 822133 h 971607"/>
                <a:gd name="connsiteX330" fmla="*/ 321946 w 1077828"/>
                <a:gd name="connsiteY330" fmla="*/ 818805 h 971607"/>
                <a:gd name="connsiteX331" fmla="*/ 322673 w 1077828"/>
                <a:gd name="connsiteY331" fmla="*/ 816947 h 971607"/>
                <a:gd name="connsiteX332" fmla="*/ 326857 w 1077828"/>
                <a:gd name="connsiteY332" fmla="*/ 811245 h 971607"/>
                <a:gd name="connsiteX333" fmla="*/ 334174 w 1077828"/>
                <a:gd name="connsiteY333" fmla="*/ 811907 h 971607"/>
                <a:gd name="connsiteX334" fmla="*/ 360247 w 1077828"/>
                <a:gd name="connsiteY334" fmla="*/ 836397 h 971607"/>
                <a:gd name="connsiteX335" fmla="*/ 360700 w 1077828"/>
                <a:gd name="connsiteY335" fmla="*/ 844151 h 971607"/>
                <a:gd name="connsiteX336" fmla="*/ 361653 w 1077828"/>
                <a:gd name="connsiteY336" fmla="*/ 852890 h 971607"/>
                <a:gd name="connsiteX337" fmla="*/ 384753 w 1077828"/>
                <a:gd name="connsiteY337" fmla="*/ 843004 h 971607"/>
                <a:gd name="connsiteX338" fmla="*/ 387209 w 1077828"/>
                <a:gd name="connsiteY338" fmla="*/ 844442 h 971607"/>
                <a:gd name="connsiteX339" fmla="*/ 387257 w 1077828"/>
                <a:gd name="connsiteY339" fmla="*/ 847285 h 971607"/>
                <a:gd name="connsiteX340" fmla="*/ 383154 w 1077828"/>
                <a:gd name="connsiteY340" fmla="*/ 854910 h 971607"/>
                <a:gd name="connsiteX341" fmla="*/ 397483 w 1077828"/>
                <a:gd name="connsiteY341" fmla="*/ 867672 h 971607"/>
                <a:gd name="connsiteX342" fmla="*/ 412248 w 1077828"/>
                <a:gd name="connsiteY342" fmla="*/ 879932 h 971607"/>
                <a:gd name="connsiteX343" fmla="*/ 421827 w 1077828"/>
                <a:gd name="connsiteY343" fmla="*/ 878560 h 971607"/>
                <a:gd name="connsiteX344" fmla="*/ 424993 w 1077828"/>
                <a:gd name="connsiteY344" fmla="*/ 873875 h 971607"/>
                <a:gd name="connsiteX345" fmla="*/ 418354 w 1077828"/>
                <a:gd name="connsiteY345" fmla="*/ 862163 h 971607"/>
                <a:gd name="connsiteX346" fmla="*/ 410374 w 1077828"/>
                <a:gd name="connsiteY346" fmla="*/ 845492 h 971607"/>
                <a:gd name="connsiteX347" fmla="*/ 414542 w 1077828"/>
                <a:gd name="connsiteY347" fmla="*/ 837060 h 971607"/>
                <a:gd name="connsiteX348" fmla="*/ 424945 w 1077828"/>
                <a:gd name="connsiteY348" fmla="*/ 824411 h 971607"/>
                <a:gd name="connsiteX349" fmla="*/ 434993 w 1077828"/>
                <a:gd name="connsiteY349" fmla="*/ 812214 h 971607"/>
                <a:gd name="connsiteX350" fmla="*/ 438062 w 1077828"/>
                <a:gd name="connsiteY350" fmla="*/ 811100 h 971607"/>
                <a:gd name="connsiteX351" fmla="*/ 440227 w 1077828"/>
                <a:gd name="connsiteY351" fmla="*/ 813555 h 971607"/>
                <a:gd name="connsiteX352" fmla="*/ 449532 w 1077828"/>
                <a:gd name="connsiteY352" fmla="*/ 829305 h 971607"/>
                <a:gd name="connsiteX353" fmla="*/ 455186 w 1077828"/>
                <a:gd name="connsiteY353" fmla="*/ 827964 h 971607"/>
                <a:gd name="connsiteX354" fmla="*/ 465573 w 1077828"/>
                <a:gd name="connsiteY354" fmla="*/ 826866 h 971607"/>
                <a:gd name="connsiteX355" fmla="*/ 470047 w 1077828"/>
                <a:gd name="connsiteY355" fmla="*/ 829548 h 971607"/>
                <a:gd name="connsiteX356" fmla="*/ 472584 w 1077828"/>
                <a:gd name="connsiteY356" fmla="*/ 831228 h 971607"/>
                <a:gd name="connsiteX357" fmla="*/ 481113 w 1077828"/>
                <a:gd name="connsiteY357" fmla="*/ 830210 h 971607"/>
                <a:gd name="connsiteX358" fmla="*/ 495765 w 1077828"/>
                <a:gd name="connsiteY358" fmla="*/ 822488 h 971607"/>
                <a:gd name="connsiteX359" fmla="*/ 498850 w 1077828"/>
                <a:gd name="connsiteY359" fmla="*/ 809549 h 971607"/>
                <a:gd name="connsiteX360" fmla="*/ 486460 w 1077828"/>
                <a:gd name="connsiteY360" fmla="*/ 802441 h 971607"/>
                <a:gd name="connsiteX361" fmla="*/ 485022 w 1077828"/>
                <a:gd name="connsiteY361" fmla="*/ 801988 h 971607"/>
                <a:gd name="connsiteX362" fmla="*/ 467640 w 1077828"/>
                <a:gd name="connsiteY362" fmla="*/ 791892 h 971607"/>
                <a:gd name="connsiteX363" fmla="*/ 463392 w 1077828"/>
                <a:gd name="connsiteY363" fmla="*/ 771392 h 971607"/>
                <a:gd name="connsiteX364" fmla="*/ 488124 w 1077828"/>
                <a:gd name="connsiteY364" fmla="*/ 759196 h 971607"/>
                <a:gd name="connsiteX365" fmla="*/ 488011 w 1077828"/>
                <a:gd name="connsiteY365" fmla="*/ 732138 h 971607"/>
                <a:gd name="connsiteX366" fmla="*/ 493552 w 1077828"/>
                <a:gd name="connsiteY366" fmla="*/ 725870 h 971607"/>
                <a:gd name="connsiteX367" fmla="*/ 506023 w 1077828"/>
                <a:gd name="connsiteY367" fmla="*/ 731492 h 971607"/>
                <a:gd name="connsiteX368" fmla="*/ 506281 w 1077828"/>
                <a:gd name="connsiteY368" fmla="*/ 731766 h 971607"/>
                <a:gd name="connsiteX369" fmla="*/ 510869 w 1077828"/>
                <a:gd name="connsiteY369" fmla="*/ 733979 h 971607"/>
                <a:gd name="connsiteX370" fmla="*/ 498075 w 1077828"/>
                <a:gd name="connsiteY370" fmla="*/ 711073 h 971607"/>
                <a:gd name="connsiteX371" fmla="*/ 495716 w 1077828"/>
                <a:gd name="connsiteY371" fmla="*/ 709183 h 971607"/>
                <a:gd name="connsiteX372" fmla="*/ 488802 w 1077828"/>
                <a:gd name="connsiteY372" fmla="*/ 702495 h 971607"/>
                <a:gd name="connsiteX373" fmla="*/ 489206 w 1077828"/>
                <a:gd name="connsiteY373" fmla="*/ 687827 h 971607"/>
                <a:gd name="connsiteX374" fmla="*/ 491533 w 1077828"/>
                <a:gd name="connsiteY374" fmla="*/ 687019 h 971607"/>
                <a:gd name="connsiteX375" fmla="*/ 529592 w 1077828"/>
                <a:gd name="connsiteY375" fmla="*/ 705580 h 971607"/>
                <a:gd name="connsiteX376" fmla="*/ 531385 w 1077828"/>
                <a:gd name="connsiteY376" fmla="*/ 707486 h 971607"/>
                <a:gd name="connsiteX377" fmla="*/ 539979 w 1077828"/>
                <a:gd name="connsiteY377" fmla="*/ 714336 h 971607"/>
                <a:gd name="connsiteX378" fmla="*/ 557070 w 1077828"/>
                <a:gd name="connsiteY378" fmla="*/ 709377 h 971607"/>
                <a:gd name="connsiteX379" fmla="*/ 591834 w 1077828"/>
                <a:gd name="connsiteY379" fmla="*/ 674257 h 971607"/>
                <a:gd name="connsiteX380" fmla="*/ 592448 w 1077828"/>
                <a:gd name="connsiteY380" fmla="*/ 673336 h 971607"/>
                <a:gd name="connsiteX381" fmla="*/ 601753 w 1077828"/>
                <a:gd name="connsiteY381" fmla="*/ 663143 h 971607"/>
                <a:gd name="connsiteX382" fmla="*/ 611849 w 1077828"/>
                <a:gd name="connsiteY382" fmla="*/ 661706 h 971607"/>
                <a:gd name="connsiteX383" fmla="*/ 617907 w 1077828"/>
                <a:gd name="connsiteY383" fmla="*/ 666148 h 971607"/>
                <a:gd name="connsiteX384" fmla="*/ 619264 w 1077828"/>
                <a:gd name="connsiteY384" fmla="*/ 669363 h 971607"/>
                <a:gd name="connsiteX385" fmla="*/ 620572 w 1077828"/>
                <a:gd name="connsiteY385" fmla="*/ 671947 h 971607"/>
                <a:gd name="connsiteX386" fmla="*/ 623076 w 1077828"/>
                <a:gd name="connsiteY386" fmla="*/ 671576 h 971607"/>
                <a:gd name="connsiteX387" fmla="*/ 648406 w 1077828"/>
                <a:gd name="connsiteY387" fmla="*/ 651867 h 971607"/>
                <a:gd name="connsiteX388" fmla="*/ 654141 w 1077828"/>
                <a:gd name="connsiteY388" fmla="*/ 627814 h 971607"/>
                <a:gd name="connsiteX389" fmla="*/ 654641 w 1077828"/>
                <a:gd name="connsiteY389" fmla="*/ 623598 h 971607"/>
                <a:gd name="connsiteX390" fmla="*/ 665416 w 1077828"/>
                <a:gd name="connsiteY390" fmla="*/ 589432 h 971607"/>
                <a:gd name="connsiteX391" fmla="*/ 696642 w 1077828"/>
                <a:gd name="connsiteY391" fmla="*/ 571161 h 971607"/>
                <a:gd name="connsiteX392" fmla="*/ 715268 w 1077828"/>
                <a:gd name="connsiteY392" fmla="*/ 585635 h 971607"/>
                <a:gd name="connsiteX393" fmla="*/ 712829 w 1077828"/>
                <a:gd name="connsiteY393" fmla="*/ 588753 h 971607"/>
                <a:gd name="connsiteX394" fmla="*/ 696093 w 1077828"/>
                <a:gd name="connsiteY394" fmla="*/ 594326 h 971607"/>
                <a:gd name="connsiteX395" fmla="*/ 693169 w 1077828"/>
                <a:gd name="connsiteY395" fmla="*/ 608235 h 971607"/>
                <a:gd name="connsiteX396" fmla="*/ 694882 w 1077828"/>
                <a:gd name="connsiteY396" fmla="*/ 612371 h 971607"/>
                <a:gd name="connsiteX397" fmla="*/ 697741 w 1077828"/>
                <a:gd name="connsiteY397" fmla="*/ 621174 h 971607"/>
                <a:gd name="connsiteX398" fmla="*/ 702167 w 1077828"/>
                <a:gd name="connsiteY398" fmla="*/ 628460 h 971607"/>
                <a:gd name="connsiteX399" fmla="*/ 703508 w 1077828"/>
                <a:gd name="connsiteY399" fmla="*/ 628347 h 971607"/>
                <a:gd name="connsiteX400" fmla="*/ 706286 w 1077828"/>
                <a:gd name="connsiteY400" fmla="*/ 624163 h 971607"/>
                <a:gd name="connsiteX401" fmla="*/ 715333 w 1077828"/>
                <a:gd name="connsiteY401" fmla="*/ 618477 h 971607"/>
                <a:gd name="connsiteX402" fmla="*/ 719081 w 1077828"/>
                <a:gd name="connsiteY402" fmla="*/ 622499 h 971607"/>
                <a:gd name="connsiteX403" fmla="*/ 720082 w 1077828"/>
                <a:gd name="connsiteY403" fmla="*/ 624018 h 971607"/>
                <a:gd name="connsiteX404" fmla="*/ 723281 w 1077828"/>
                <a:gd name="connsiteY404" fmla="*/ 622144 h 971607"/>
                <a:gd name="connsiteX405" fmla="*/ 725284 w 1077828"/>
                <a:gd name="connsiteY405" fmla="*/ 620658 h 971607"/>
                <a:gd name="connsiteX406" fmla="*/ 737335 w 1077828"/>
                <a:gd name="connsiteY406" fmla="*/ 620125 h 971607"/>
                <a:gd name="connsiteX407" fmla="*/ 747044 w 1077828"/>
                <a:gd name="connsiteY407" fmla="*/ 633242 h 971607"/>
                <a:gd name="connsiteX408" fmla="*/ 736996 w 1077828"/>
                <a:gd name="connsiteY408" fmla="*/ 657053 h 971607"/>
                <a:gd name="connsiteX409" fmla="*/ 736543 w 1077828"/>
                <a:gd name="connsiteY409" fmla="*/ 657554 h 971607"/>
                <a:gd name="connsiteX410" fmla="*/ 732279 w 1077828"/>
                <a:gd name="connsiteY410" fmla="*/ 663967 h 971607"/>
                <a:gd name="connsiteX411" fmla="*/ 732149 w 1077828"/>
                <a:gd name="connsiteY411" fmla="*/ 668943 h 971607"/>
                <a:gd name="connsiteX412" fmla="*/ 732262 w 1077828"/>
                <a:gd name="connsiteY412" fmla="*/ 670687 h 971607"/>
                <a:gd name="connsiteX413" fmla="*/ 723168 w 1077828"/>
                <a:gd name="connsiteY413" fmla="*/ 692076 h 971607"/>
                <a:gd name="connsiteX414" fmla="*/ 709517 w 1077828"/>
                <a:gd name="connsiteY414" fmla="*/ 694676 h 971607"/>
                <a:gd name="connsiteX415" fmla="*/ 700293 w 1077828"/>
                <a:gd name="connsiteY415" fmla="*/ 688021 h 971607"/>
                <a:gd name="connsiteX416" fmla="*/ 698032 w 1077828"/>
                <a:gd name="connsiteY416" fmla="*/ 679136 h 971607"/>
                <a:gd name="connsiteX417" fmla="*/ 697224 w 1077828"/>
                <a:gd name="connsiteY417" fmla="*/ 674273 h 971607"/>
                <a:gd name="connsiteX418" fmla="*/ 690439 w 1077828"/>
                <a:gd name="connsiteY418" fmla="*/ 666277 h 971607"/>
                <a:gd name="connsiteX419" fmla="*/ 678211 w 1077828"/>
                <a:gd name="connsiteY419" fmla="*/ 664856 h 971607"/>
                <a:gd name="connsiteX420" fmla="*/ 664738 w 1077828"/>
                <a:gd name="connsiteY420" fmla="*/ 683659 h 971607"/>
                <a:gd name="connsiteX421" fmla="*/ 675141 w 1077828"/>
                <a:gd name="connsiteY421" fmla="*/ 706259 h 971607"/>
                <a:gd name="connsiteX422" fmla="*/ 676385 w 1077828"/>
                <a:gd name="connsiteY422" fmla="*/ 707357 h 971607"/>
                <a:gd name="connsiteX423" fmla="*/ 683687 w 1077828"/>
                <a:gd name="connsiteY423" fmla="*/ 718164 h 971607"/>
                <a:gd name="connsiteX424" fmla="*/ 671038 w 1077828"/>
                <a:gd name="connsiteY424" fmla="*/ 732510 h 971607"/>
                <a:gd name="connsiteX425" fmla="*/ 666612 w 1077828"/>
                <a:gd name="connsiteY425" fmla="*/ 733576 h 971607"/>
                <a:gd name="connsiteX426" fmla="*/ 656499 w 1077828"/>
                <a:gd name="connsiteY426" fmla="*/ 737485 h 971607"/>
                <a:gd name="connsiteX427" fmla="*/ 652832 w 1077828"/>
                <a:gd name="connsiteY427" fmla="*/ 742186 h 971607"/>
                <a:gd name="connsiteX428" fmla="*/ 649747 w 1077828"/>
                <a:gd name="connsiteY428" fmla="*/ 746450 h 971607"/>
                <a:gd name="connsiteX429" fmla="*/ 635612 w 1077828"/>
                <a:gd name="connsiteY429" fmla="*/ 749584 h 971607"/>
                <a:gd name="connsiteX430" fmla="*/ 635273 w 1077828"/>
                <a:gd name="connsiteY430" fmla="*/ 732800 h 971607"/>
                <a:gd name="connsiteX431" fmla="*/ 637308 w 1077828"/>
                <a:gd name="connsiteY431" fmla="*/ 727873 h 971607"/>
                <a:gd name="connsiteX432" fmla="*/ 636969 w 1077828"/>
                <a:gd name="connsiteY432" fmla="*/ 715935 h 971607"/>
                <a:gd name="connsiteX433" fmla="*/ 632236 w 1077828"/>
                <a:gd name="connsiteY433" fmla="*/ 708310 h 971607"/>
                <a:gd name="connsiteX434" fmla="*/ 629005 w 1077828"/>
                <a:gd name="connsiteY434" fmla="*/ 710168 h 971607"/>
                <a:gd name="connsiteX435" fmla="*/ 615274 w 1077828"/>
                <a:gd name="connsiteY435" fmla="*/ 725175 h 971607"/>
                <a:gd name="connsiteX436" fmla="*/ 615354 w 1077828"/>
                <a:gd name="connsiteY436" fmla="*/ 742832 h 971607"/>
                <a:gd name="connsiteX437" fmla="*/ 615468 w 1077828"/>
                <a:gd name="connsiteY437" fmla="*/ 745998 h 971607"/>
                <a:gd name="connsiteX438" fmla="*/ 612608 w 1077828"/>
                <a:gd name="connsiteY438" fmla="*/ 747371 h 971607"/>
                <a:gd name="connsiteX439" fmla="*/ 602286 w 1077828"/>
                <a:gd name="connsiteY439" fmla="*/ 747468 h 971607"/>
                <a:gd name="connsiteX440" fmla="*/ 597633 w 1077828"/>
                <a:gd name="connsiteY440" fmla="*/ 753025 h 971607"/>
                <a:gd name="connsiteX441" fmla="*/ 598263 w 1077828"/>
                <a:gd name="connsiteY441" fmla="*/ 755384 h 971607"/>
                <a:gd name="connsiteX442" fmla="*/ 598974 w 1077828"/>
                <a:gd name="connsiteY442" fmla="*/ 757791 h 971607"/>
                <a:gd name="connsiteX443" fmla="*/ 595953 w 1077828"/>
                <a:gd name="connsiteY443" fmla="*/ 772152 h 971607"/>
                <a:gd name="connsiteX444" fmla="*/ 594047 w 1077828"/>
                <a:gd name="connsiteY444" fmla="*/ 783395 h 971607"/>
                <a:gd name="connsiteX445" fmla="*/ 606227 w 1077828"/>
                <a:gd name="connsiteY445" fmla="*/ 786545 h 971607"/>
                <a:gd name="connsiteX446" fmla="*/ 618440 w 1077828"/>
                <a:gd name="connsiteY446" fmla="*/ 787676 h 971607"/>
                <a:gd name="connsiteX447" fmla="*/ 624417 w 1077828"/>
                <a:gd name="connsiteY447" fmla="*/ 790826 h 971607"/>
                <a:gd name="connsiteX448" fmla="*/ 628391 w 1077828"/>
                <a:gd name="connsiteY448" fmla="*/ 793088 h 971607"/>
                <a:gd name="connsiteX449" fmla="*/ 634643 w 1077828"/>
                <a:gd name="connsiteY449" fmla="*/ 792377 h 971607"/>
                <a:gd name="connsiteX450" fmla="*/ 633043 w 1077828"/>
                <a:gd name="connsiteY450" fmla="*/ 786174 h 971607"/>
                <a:gd name="connsiteX451" fmla="*/ 630329 w 1077828"/>
                <a:gd name="connsiteY451" fmla="*/ 777143 h 971607"/>
                <a:gd name="connsiteX452" fmla="*/ 646322 w 1077828"/>
                <a:gd name="connsiteY452" fmla="*/ 766481 h 971607"/>
                <a:gd name="connsiteX453" fmla="*/ 651104 w 1077828"/>
                <a:gd name="connsiteY453" fmla="*/ 766950 h 971607"/>
                <a:gd name="connsiteX454" fmla="*/ 661685 w 1077828"/>
                <a:gd name="connsiteY454" fmla="*/ 766546 h 971607"/>
                <a:gd name="connsiteX455" fmla="*/ 667500 w 1077828"/>
                <a:gd name="connsiteY455" fmla="*/ 761926 h 971607"/>
                <a:gd name="connsiteX456" fmla="*/ 671167 w 1077828"/>
                <a:gd name="connsiteY456" fmla="*/ 758518 h 971607"/>
                <a:gd name="connsiteX457" fmla="*/ 687111 w 1077828"/>
                <a:gd name="connsiteY457" fmla="*/ 757968 h 971607"/>
                <a:gd name="connsiteX458" fmla="*/ 689874 w 1077828"/>
                <a:gd name="connsiteY458" fmla="*/ 764075 h 971607"/>
                <a:gd name="connsiteX459" fmla="*/ 709372 w 1077828"/>
                <a:gd name="connsiteY459" fmla="*/ 802748 h 971607"/>
                <a:gd name="connsiteX460" fmla="*/ 720292 w 1077828"/>
                <a:gd name="connsiteY460" fmla="*/ 814217 h 971607"/>
                <a:gd name="connsiteX461" fmla="*/ 727368 w 1077828"/>
                <a:gd name="connsiteY461" fmla="*/ 827044 h 971607"/>
                <a:gd name="connsiteX462" fmla="*/ 723071 w 1077828"/>
                <a:gd name="connsiteY462" fmla="*/ 834669 h 971607"/>
                <a:gd name="connsiteX463" fmla="*/ 720906 w 1077828"/>
                <a:gd name="connsiteY463" fmla="*/ 837350 h 971607"/>
                <a:gd name="connsiteX464" fmla="*/ 723087 w 1077828"/>
                <a:gd name="connsiteY464" fmla="*/ 851889 h 971607"/>
                <a:gd name="connsiteX465" fmla="*/ 737965 w 1077828"/>
                <a:gd name="connsiteY465" fmla="*/ 862018 h 971607"/>
                <a:gd name="connsiteX466" fmla="*/ 739467 w 1077828"/>
                <a:gd name="connsiteY466" fmla="*/ 863843 h 971607"/>
                <a:gd name="connsiteX467" fmla="*/ 739128 w 1077828"/>
                <a:gd name="connsiteY467" fmla="*/ 866169 h 971607"/>
                <a:gd name="connsiteX468" fmla="*/ 732989 w 1077828"/>
                <a:gd name="connsiteY468" fmla="*/ 884440 h 971607"/>
                <a:gd name="connsiteX469" fmla="*/ 750371 w 1077828"/>
                <a:gd name="connsiteY469" fmla="*/ 875345 h 971607"/>
                <a:gd name="connsiteX470" fmla="*/ 752617 w 1077828"/>
                <a:gd name="connsiteY470" fmla="*/ 856541 h 971607"/>
                <a:gd name="connsiteX471" fmla="*/ 751486 w 1077828"/>
                <a:gd name="connsiteY471" fmla="*/ 855443 h 971607"/>
                <a:gd name="connsiteX472" fmla="*/ 748077 w 1077828"/>
                <a:gd name="connsiteY472" fmla="*/ 851065 h 971607"/>
                <a:gd name="connsiteX473" fmla="*/ 756558 w 1077828"/>
                <a:gd name="connsiteY473" fmla="*/ 836623 h 971607"/>
                <a:gd name="connsiteX474" fmla="*/ 771259 w 1077828"/>
                <a:gd name="connsiteY474" fmla="*/ 829580 h 971607"/>
                <a:gd name="connsiteX475" fmla="*/ 802275 w 1077828"/>
                <a:gd name="connsiteY475" fmla="*/ 811406 h 971607"/>
                <a:gd name="connsiteX476" fmla="*/ 808801 w 1077828"/>
                <a:gd name="connsiteY476" fmla="*/ 795107 h 971607"/>
                <a:gd name="connsiteX477" fmla="*/ 792130 w 1077828"/>
                <a:gd name="connsiteY477" fmla="*/ 788290 h 971607"/>
                <a:gd name="connsiteX478" fmla="*/ 780176 w 1077828"/>
                <a:gd name="connsiteY478" fmla="*/ 786254 h 971607"/>
                <a:gd name="connsiteX479" fmla="*/ 765104 w 1077828"/>
                <a:gd name="connsiteY479" fmla="*/ 776271 h 971607"/>
                <a:gd name="connsiteX480" fmla="*/ 756704 w 1077828"/>
                <a:gd name="connsiteY480" fmla="*/ 763735 h 971607"/>
                <a:gd name="connsiteX481" fmla="*/ 763020 w 1077828"/>
                <a:gd name="connsiteY481" fmla="*/ 748680 h 971607"/>
                <a:gd name="connsiteX482" fmla="*/ 783229 w 1077828"/>
                <a:gd name="connsiteY482" fmla="*/ 759341 h 971607"/>
                <a:gd name="connsiteX483" fmla="*/ 796298 w 1077828"/>
                <a:gd name="connsiteY483" fmla="*/ 767289 h 971607"/>
                <a:gd name="connsiteX484" fmla="*/ 799012 w 1077828"/>
                <a:gd name="connsiteY484" fmla="*/ 764931 h 971607"/>
                <a:gd name="connsiteX485" fmla="*/ 799819 w 1077828"/>
                <a:gd name="connsiteY485" fmla="*/ 764107 h 971607"/>
                <a:gd name="connsiteX486" fmla="*/ 832532 w 1077828"/>
                <a:gd name="connsiteY486" fmla="*/ 754463 h 971607"/>
                <a:gd name="connsiteX487" fmla="*/ 850463 w 1077828"/>
                <a:gd name="connsiteY487" fmla="*/ 725321 h 971607"/>
                <a:gd name="connsiteX488" fmla="*/ 834002 w 1077828"/>
                <a:gd name="connsiteY488" fmla="*/ 709619 h 971607"/>
                <a:gd name="connsiteX489" fmla="*/ 816394 w 1077828"/>
                <a:gd name="connsiteY489" fmla="*/ 694967 h 971607"/>
                <a:gd name="connsiteX490" fmla="*/ 812597 w 1077828"/>
                <a:gd name="connsiteY490" fmla="*/ 686486 h 971607"/>
                <a:gd name="connsiteX491" fmla="*/ 807056 w 1077828"/>
                <a:gd name="connsiteY491" fmla="*/ 676325 h 971607"/>
                <a:gd name="connsiteX492" fmla="*/ 795813 w 1077828"/>
                <a:gd name="connsiteY492" fmla="*/ 671656 h 971607"/>
                <a:gd name="connsiteX493" fmla="*/ 790595 w 1077828"/>
                <a:gd name="connsiteY493" fmla="*/ 670251 h 971607"/>
                <a:gd name="connsiteX494" fmla="*/ 777607 w 1077828"/>
                <a:gd name="connsiteY494" fmla="*/ 653596 h 971607"/>
                <a:gd name="connsiteX495" fmla="*/ 791193 w 1077828"/>
                <a:gd name="connsiteY495" fmla="*/ 641577 h 971607"/>
                <a:gd name="connsiteX496" fmla="*/ 791661 w 1077828"/>
                <a:gd name="connsiteY496" fmla="*/ 641383 h 971607"/>
                <a:gd name="connsiteX497" fmla="*/ 799060 w 1077828"/>
                <a:gd name="connsiteY497" fmla="*/ 635487 h 971607"/>
                <a:gd name="connsiteX498" fmla="*/ 786508 w 1077828"/>
                <a:gd name="connsiteY498" fmla="*/ 635390 h 971607"/>
                <a:gd name="connsiteX499" fmla="*/ 774425 w 1077828"/>
                <a:gd name="connsiteY499" fmla="*/ 622580 h 971607"/>
                <a:gd name="connsiteX500" fmla="*/ 790208 w 1077828"/>
                <a:gd name="connsiteY500" fmla="*/ 604552 h 971607"/>
                <a:gd name="connsiteX501" fmla="*/ 802630 w 1077828"/>
                <a:gd name="connsiteY501" fmla="*/ 592113 h 971607"/>
                <a:gd name="connsiteX502" fmla="*/ 786282 w 1077828"/>
                <a:gd name="connsiteY502" fmla="*/ 582744 h 971607"/>
                <a:gd name="connsiteX503" fmla="*/ 767204 w 1077828"/>
                <a:gd name="connsiteY503" fmla="*/ 565862 h 971607"/>
                <a:gd name="connsiteX504" fmla="*/ 769837 w 1077828"/>
                <a:gd name="connsiteY504" fmla="*/ 563343 h 971607"/>
                <a:gd name="connsiteX505" fmla="*/ 815521 w 1077828"/>
                <a:gd name="connsiteY505" fmla="*/ 567106 h 971607"/>
                <a:gd name="connsiteX506" fmla="*/ 816474 w 1077828"/>
                <a:gd name="connsiteY506" fmla="*/ 567349 h 971607"/>
                <a:gd name="connsiteX507" fmla="*/ 825198 w 1077828"/>
                <a:gd name="connsiteY507" fmla="*/ 568641 h 971607"/>
                <a:gd name="connsiteX508" fmla="*/ 842854 w 1077828"/>
                <a:gd name="connsiteY508" fmla="*/ 550872 h 971607"/>
                <a:gd name="connsiteX509" fmla="*/ 852030 w 1077828"/>
                <a:gd name="connsiteY509" fmla="*/ 532601 h 971607"/>
                <a:gd name="connsiteX510" fmla="*/ 860236 w 1077828"/>
                <a:gd name="connsiteY510" fmla="*/ 521471 h 971607"/>
                <a:gd name="connsiteX511" fmla="*/ 875566 w 1077828"/>
                <a:gd name="connsiteY511" fmla="*/ 522165 h 971607"/>
                <a:gd name="connsiteX512" fmla="*/ 878571 w 1077828"/>
                <a:gd name="connsiteY512" fmla="*/ 532908 h 971607"/>
                <a:gd name="connsiteX513" fmla="*/ 878700 w 1077828"/>
                <a:gd name="connsiteY513" fmla="*/ 535767 h 971607"/>
                <a:gd name="connsiteX514" fmla="*/ 899620 w 1077828"/>
                <a:gd name="connsiteY514" fmla="*/ 559578 h 971607"/>
                <a:gd name="connsiteX515" fmla="*/ 908408 w 1077828"/>
                <a:gd name="connsiteY515" fmla="*/ 569820 h 971607"/>
                <a:gd name="connsiteX516" fmla="*/ 906922 w 1077828"/>
                <a:gd name="connsiteY516" fmla="*/ 575830 h 971607"/>
                <a:gd name="connsiteX517" fmla="*/ 903869 w 1077828"/>
                <a:gd name="connsiteY517" fmla="*/ 578334 h 971607"/>
                <a:gd name="connsiteX518" fmla="*/ 902382 w 1077828"/>
                <a:gd name="connsiteY518" fmla="*/ 579400 h 971607"/>
                <a:gd name="connsiteX519" fmla="*/ 901672 w 1077828"/>
                <a:gd name="connsiteY519" fmla="*/ 581742 h 971607"/>
                <a:gd name="connsiteX520" fmla="*/ 904983 w 1077828"/>
                <a:gd name="connsiteY520" fmla="*/ 587008 h 971607"/>
                <a:gd name="connsiteX521" fmla="*/ 911203 w 1077828"/>
                <a:gd name="connsiteY521" fmla="*/ 589852 h 971607"/>
                <a:gd name="connsiteX522" fmla="*/ 917794 w 1077828"/>
                <a:gd name="connsiteY522" fmla="*/ 592775 h 971607"/>
                <a:gd name="connsiteX523" fmla="*/ 926678 w 1077828"/>
                <a:gd name="connsiteY523" fmla="*/ 617459 h 971607"/>
                <a:gd name="connsiteX524" fmla="*/ 925047 w 1077828"/>
                <a:gd name="connsiteY524" fmla="*/ 619171 h 971607"/>
                <a:gd name="connsiteX525" fmla="*/ 922688 w 1077828"/>
                <a:gd name="connsiteY525" fmla="*/ 619107 h 971607"/>
                <a:gd name="connsiteX526" fmla="*/ 907649 w 1077828"/>
                <a:gd name="connsiteY526" fmla="*/ 619075 h 971607"/>
                <a:gd name="connsiteX527" fmla="*/ 930507 w 1077828"/>
                <a:gd name="connsiteY527" fmla="*/ 641206 h 971607"/>
                <a:gd name="connsiteX528" fmla="*/ 943204 w 1077828"/>
                <a:gd name="connsiteY528" fmla="*/ 656924 h 971607"/>
                <a:gd name="connsiteX529" fmla="*/ 942332 w 1077828"/>
                <a:gd name="connsiteY529" fmla="*/ 678231 h 971607"/>
                <a:gd name="connsiteX530" fmla="*/ 926161 w 1077828"/>
                <a:gd name="connsiteY530" fmla="*/ 687617 h 971607"/>
                <a:gd name="connsiteX531" fmla="*/ 922914 w 1077828"/>
                <a:gd name="connsiteY531" fmla="*/ 688699 h 971607"/>
                <a:gd name="connsiteX532" fmla="*/ 911574 w 1077828"/>
                <a:gd name="connsiteY532" fmla="*/ 699878 h 971607"/>
                <a:gd name="connsiteX533" fmla="*/ 913383 w 1077828"/>
                <a:gd name="connsiteY533" fmla="*/ 705645 h 971607"/>
                <a:gd name="connsiteX534" fmla="*/ 914579 w 1077828"/>
                <a:gd name="connsiteY534" fmla="*/ 708488 h 971607"/>
                <a:gd name="connsiteX535" fmla="*/ 916937 w 1077828"/>
                <a:gd name="connsiteY535" fmla="*/ 719812 h 971607"/>
                <a:gd name="connsiteX536" fmla="*/ 918747 w 1077828"/>
                <a:gd name="connsiteY536" fmla="*/ 729198 h 971607"/>
                <a:gd name="connsiteX537" fmla="*/ 925806 w 1077828"/>
                <a:gd name="connsiteY537" fmla="*/ 737129 h 971607"/>
                <a:gd name="connsiteX538" fmla="*/ 930588 w 1077828"/>
                <a:gd name="connsiteY538" fmla="*/ 737113 h 971607"/>
                <a:gd name="connsiteX539" fmla="*/ 934594 w 1077828"/>
                <a:gd name="connsiteY539" fmla="*/ 733349 h 971607"/>
                <a:gd name="connsiteX540" fmla="*/ 940684 w 1077828"/>
                <a:gd name="connsiteY540" fmla="*/ 728002 h 971607"/>
                <a:gd name="connsiteX541" fmla="*/ 958114 w 1077828"/>
                <a:gd name="connsiteY541" fmla="*/ 732429 h 971607"/>
                <a:gd name="connsiteX542" fmla="*/ 968308 w 1077828"/>
                <a:gd name="connsiteY542" fmla="*/ 737404 h 971607"/>
                <a:gd name="connsiteX543" fmla="*/ 970779 w 1077828"/>
                <a:gd name="connsiteY543" fmla="*/ 736823 h 971607"/>
                <a:gd name="connsiteX544" fmla="*/ 971167 w 1077828"/>
                <a:gd name="connsiteY544" fmla="*/ 734836 h 971607"/>
                <a:gd name="connsiteX545" fmla="*/ 961281 w 1077828"/>
                <a:gd name="connsiteY545" fmla="*/ 706921 h 971607"/>
                <a:gd name="connsiteX546" fmla="*/ 960150 w 1077828"/>
                <a:gd name="connsiteY546" fmla="*/ 705693 h 971607"/>
                <a:gd name="connsiteX547" fmla="*/ 953220 w 1077828"/>
                <a:gd name="connsiteY547" fmla="*/ 690040 h 971607"/>
                <a:gd name="connsiteX548" fmla="*/ 967872 w 1077828"/>
                <a:gd name="connsiteY548" fmla="*/ 680929 h 971607"/>
                <a:gd name="connsiteX549" fmla="*/ 975270 w 1077828"/>
                <a:gd name="connsiteY549" fmla="*/ 663062 h 971607"/>
                <a:gd name="connsiteX550" fmla="*/ 997999 w 1077828"/>
                <a:gd name="connsiteY550" fmla="*/ 663515 h 971607"/>
                <a:gd name="connsiteX551" fmla="*/ 1000293 w 1077828"/>
                <a:gd name="connsiteY551" fmla="*/ 665324 h 971607"/>
                <a:gd name="connsiteX552" fmla="*/ 1004154 w 1077828"/>
                <a:gd name="connsiteY552" fmla="*/ 667941 h 971607"/>
                <a:gd name="connsiteX553" fmla="*/ 1010212 w 1077828"/>
                <a:gd name="connsiteY553" fmla="*/ 667990 h 971607"/>
                <a:gd name="connsiteX554" fmla="*/ 1046349 w 1077828"/>
                <a:gd name="connsiteY554" fmla="*/ 634906 h 971607"/>
                <a:gd name="connsiteX555" fmla="*/ 1061727 w 1077828"/>
                <a:gd name="connsiteY555" fmla="*/ 598962 h 971607"/>
                <a:gd name="connsiteX556" fmla="*/ 1053570 w 1077828"/>
                <a:gd name="connsiteY556" fmla="*/ 564699 h 971607"/>
                <a:gd name="connsiteX557" fmla="*/ 1045654 w 1077828"/>
                <a:gd name="connsiteY557" fmla="*/ 569320 h 971607"/>
                <a:gd name="connsiteX558" fmla="*/ 1033845 w 1077828"/>
                <a:gd name="connsiteY558" fmla="*/ 575410 h 971607"/>
                <a:gd name="connsiteX559" fmla="*/ 1021681 w 1077828"/>
                <a:gd name="connsiteY559" fmla="*/ 572001 h 971607"/>
                <a:gd name="connsiteX560" fmla="*/ 1011779 w 1077828"/>
                <a:gd name="connsiteY560" fmla="*/ 570273 h 971607"/>
                <a:gd name="connsiteX561" fmla="*/ 1009436 w 1077828"/>
                <a:gd name="connsiteY561" fmla="*/ 577704 h 971607"/>
                <a:gd name="connsiteX562" fmla="*/ 1005866 w 1077828"/>
                <a:gd name="connsiteY562" fmla="*/ 588478 h 971607"/>
                <a:gd name="connsiteX563" fmla="*/ 986578 w 1077828"/>
                <a:gd name="connsiteY563" fmla="*/ 588850 h 971607"/>
                <a:gd name="connsiteX564" fmla="*/ 986077 w 1077828"/>
                <a:gd name="connsiteY564" fmla="*/ 588592 h 971607"/>
                <a:gd name="connsiteX565" fmla="*/ 973057 w 1077828"/>
                <a:gd name="connsiteY565" fmla="*/ 585474 h 971607"/>
                <a:gd name="connsiteX566" fmla="*/ 970101 w 1077828"/>
                <a:gd name="connsiteY566" fmla="*/ 587509 h 971607"/>
                <a:gd name="connsiteX567" fmla="*/ 966385 w 1077828"/>
                <a:gd name="connsiteY567" fmla="*/ 590094 h 971607"/>
                <a:gd name="connsiteX568" fmla="*/ 954625 w 1077828"/>
                <a:gd name="connsiteY568" fmla="*/ 589351 h 971607"/>
                <a:gd name="connsiteX569" fmla="*/ 948454 w 1077828"/>
                <a:gd name="connsiteY569" fmla="*/ 579319 h 971607"/>
                <a:gd name="connsiteX570" fmla="*/ 950877 w 1077828"/>
                <a:gd name="connsiteY570" fmla="*/ 570176 h 971607"/>
                <a:gd name="connsiteX571" fmla="*/ 952590 w 1077828"/>
                <a:gd name="connsiteY571" fmla="*/ 562470 h 971607"/>
                <a:gd name="connsiteX572" fmla="*/ 948583 w 1077828"/>
                <a:gd name="connsiteY572" fmla="*/ 557252 h 971607"/>
                <a:gd name="connsiteX573" fmla="*/ 930168 w 1077828"/>
                <a:gd name="connsiteY573" fmla="*/ 539919 h 971607"/>
                <a:gd name="connsiteX574" fmla="*/ 919764 w 1077828"/>
                <a:gd name="connsiteY574" fmla="*/ 521228 h 971607"/>
                <a:gd name="connsiteX575" fmla="*/ 923141 w 1077828"/>
                <a:gd name="connsiteY575" fmla="*/ 512796 h 971607"/>
                <a:gd name="connsiteX576" fmla="*/ 926000 w 1077828"/>
                <a:gd name="connsiteY576" fmla="*/ 510518 h 971607"/>
                <a:gd name="connsiteX577" fmla="*/ 928730 w 1077828"/>
                <a:gd name="connsiteY577" fmla="*/ 507885 h 971607"/>
                <a:gd name="connsiteX578" fmla="*/ 927131 w 1077828"/>
                <a:gd name="connsiteY578" fmla="*/ 503136 h 971607"/>
                <a:gd name="connsiteX579" fmla="*/ 926436 w 1077828"/>
                <a:gd name="connsiteY579" fmla="*/ 501860 h 971607"/>
                <a:gd name="connsiteX580" fmla="*/ 932785 w 1077828"/>
                <a:gd name="connsiteY580" fmla="*/ 471990 h 971607"/>
                <a:gd name="connsiteX581" fmla="*/ 941282 w 1077828"/>
                <a:gd name="connsiteY581" fmla="*/ 469260 h 971607"/>
                <a:gd name="connsiteX582" fmla="*/ 946823 w 1077828"/>
                <a:gd name="connsiteY582" fmla="*/ 473218 h 971607"/>
                <a:gd name="connsiteX583" fmla="*/ 947097 w 1077828"/>
                <a:gd name="connsiteY583" fmla="*/ 486432 h 971607"/>
                <a:gd name="connsiteX584" fmla="*/ 947000 w 1077828"/>
                <a:gd name="connsiteY584" fmla="*/ 486691 h 971607"/>
                <a:gd name="connsiteX585" fmla="*/ 944900 w 1077828"/>
                <a:gd name="connsiteY585" fmla="*/ 496303 h 971607"/>
                <a:gd name="connsiteX586" fmla="*/ 966918 w 1077828"/>
                <a:gd name="connsiteY586" fmla="*/ 499614 h 971607"/>
                <a:gd name="connsiteX587" fmla="*/ 968033 w 1077828"/>
                <a:gd name="connsiteY587" fmla="*/ 499275 h 971607"/>
                <a:gd name="connsiteX588" fmla="*/ 975448 w 1077828"/>
                <a:gd name="connsiteY588" fmla="*/ 502522 h 971607"/>
                <a:gd name="connsiteX589" fmla="*/ 978501 w 1077828"/>
                <a:gd name="connsiteY589" fmla="*/ 504670 h 971607"/>
                <a:gd name="connsiteX590" fmla="*/ 984979 w 1077828"/>
                <a:gd name="connsiteY590" fmla="*/ 501019 h 971607"/>
                <a:gd name="connsiteX591" fmla="*/ 986950 w 1077828"/>
                <a:gd name="connsiteY591" fmla="*/ 496771 h 971607"/>
                <a:gd name="connsiteX592" fmla="*/ 990843 w 1077828"/>
                <a:gd name="connsiteY592" fmla="*/ 489518 h 971607"/>
                <a:gd name="connsiteX593" fmla="*/ 1008192 w 1077828"/>
                <a:gd name="connsiteY593" fmla="*/ 481570 h 971607"/>
                <a:gd name="connsiteX594" fmla="*/ 1021907 w 1077828"/>
                <a:gd name="connsiteY594" fmla="*/ 476126 h 971607"/>
                <a:gd name="connsiteX595" fmla="*/ 1026398 w 1077828"/>
                <a:gd name="connsiteY595" fmla="*/ 467807 h 971607"/>
                <a:gd name="connsiteX596" fmla="*/ 1029435 w 1077828"/>
                <a:gd name="connsiteY596" fmla="*/ 461102 h 971607"/>
                <a:gd name="connsiteX597" fmla="*/ 1040840 w 1077828"/>
                <a:gd name="connsiteY597" fmla="*/ 453542 h 971607"/>
                <a:gd name="connsiteX598" fmla="*/ 1048562 w 1077828"/>
                <a:gd name="connsiteY598" fmla="*/ 456531 h 971607"/>
                <a:gd name="connsiteX599" fmla="*/ 1050452 w 1077828"/>
                <a:gd name="connsiteY599" fmla="*/ 459552 h 971607"/>
                <a:gd name="connsiteX600" fmla="*/ 1051502 w 1077828"/>
                <a:gd name="connsiteY600" fmla="*/ 461345 h 971607"/>
                <a:gd name="connsiteX601" fmla="*/ 1059030 w 1077828"/>
                <a:gd name="connsiteY601" fmla="*/ 462023 h 971607"/>
                <a:gd name="connsiteX602" fmla="*/ 1064538 w 1077828"/>
                <a:gd name="connsiteY602" fmla="*/ 458599 h 971607"/>
                <a:gd name="connsiteX603" fmla="*/ 1068706 w 1077828"/>
                <a:gd name="connsiteY603" fmla="*/ 455804 h 971607"/>
                <a:gd name="connsiteX604" fmla="*/ 1077074 w 1077828"/>
                <a:gd name="connsiteY604" fmla="*/ 452735 h 971607"/>
                <a:gd name="connsiteX605" fmla="*/ 1076751 w 1077828"/>
                <a:gd name="connsiteY605" fmla="*/ 428665 h 971607"/>
                <a:gd name="connsiteX606" fmla="*/ 1074166 w 1077828"/>
                <a:gd name="connsiteY606" fmla="*/ 402802 h 971607"/>
                <a:gd name="connsiteX607" fmla="*/ 1074360 w 1077828"/>
                <a:gd name="connsiteY607" fmla="*/ 402802 h 971607"/>
                <a:gd name="connsiteX608" fmla="*/ 574727 w 1077828"/>
                <a:gd name="connsiteY608" fmla="*/ 302081 h 971607"/>
                <a:gd name="connsiteX609" fmla="*/ 561852 w 1077828"/>
                <a:gd name="connsiteY609" fmla="*/ 330447 h 971607"/>
                <a:gd name="connsiteX610" fmla="*/ 543339 w 1077828"/>
                <a:gd name="connsiteY610" fmla="*/ 335197 h 971607"/>
                <a:gd name="connsiteX611" fmla="*/ 541530 w 1077828"/>
                <a:gd name="connsiteY611" fmla="*/ 335342 h 971607"/>
                <a:gd name="connsiteX612" fmla="*/ 482599 w 1077828"/>
                <a:gd name="connsiteY612" fmla="*/ 353677 h 971607"/>
                <a:gd name="connsiteX613" fmla="*/ 481113 w 1077828"/>
                <a:gd name="connsiteY613" fmla="*/ 354533 h 971607"/>
                <a:gd name="connsiteX614" fmla="*/ 464668 w 1077828"/>
                <a:gd name="connsiteY614" fmla="*/ 360801 h 971607"/>
                <a:gd name="connsiteX615" fmla="*/ 464022 w 1077828"/>
                <a:gd name="connsiteY615" fmla="*/ 360817 h 971607"/>
                <a:gd name="connsiteX616" fmla="*/ 453715 w 1077828"/>
                <a:gd name="connsiteY616" fmla="*/ 354388 h 971607"/>
                <a:gd name="connsiteX617" fmla="*/ 449871 w 1077828"/>
                <a:gd name="connsiteY617" fmla="*/ 350381 h 971607"/>
                <a:gd name="connsiteX618" fmla="*/ 431019 w 1077828"/>
                <a:gd name="connsiteY618" fmla="*/ 351739 h 971607"/>
                <a:gd name="connsiteX619" fmla="*/ 411020 w 1077828"/>
                <a:gd name="connsiteY619" fmla="*/ 355066 h 971607"/>
                <a:gd name="connsiteX620" fmla="*/ 381894 w 1077828"/>
                <a:gd name="connsiteY620" fmla="*/ 325746 h 971607"/>
                <a:gd name="connsiteX621" fmla="*/ 382605 w 1077828"/>
                <a:gd name="connsiteY621" fmla="*/ 314858 h 971607"/>
                <a:gd name="connsiteX622" fmla="*/ 382169 w 1077828"/>
                <a:gd name="connsiteY622" fmla="*/ 300643 h 971607"/>
                <a:gd name="connsiteX623" fmla="*/ 365497 w 1077828"/>
                <a:gd name="connsiteY623" fmla="*/ 288495 h 971607"/>
                <a:gd name="connsiteX624" fmla="*/ 321316 w 1077828"/>
                <a:gd name="connsiteY624" fmla="*/ 270677 h 971607"/>
                <a:gd name="connsiteX625" fmla="*/ 298877 w 1077828"/>
                <a:gd name="connsiteY625" fmla="*/ 256526 h 971607"/>
                <a:gd name="connsiteX626" fmla="*/ 306825 w 1077828"/>
                <a:gd name="connsiteY626" fmla="*/ 205898 h 971607"/>
                <a:gd name="connsiteX627" fmla="*/ 324175 w 1077828"/>
                <a:gd name="connsiteY627" fmla="*/ 190164 h 971607"/>
                <a:gd name="connsiteX628" fmla="*/ 344400 w 1077828"/>
                <a:gd name="connsiteY628" fmla="*/ 170828 h 971607"/>
                <a:gd name="connsiteX629" fmla="*/ 346516 w 1077828"/>
                <a:gd name="connsiteY629" fmla="*/ 167952 h 971607"/>
                <a:gd name="connsiteX630" fmla="*/ 359181 w 1077828"/>
                <a:gd name="connsiteY630" fmla="*/ 155949 h 971607"/>
                <a:gd name="connsiteX631" fmla="*/ 379342 w 1077828"/>
                <a:gd name="connsiteY631" fmla="*/ 156386 h 971607"/>
                <a:gd name="connsiteX632" fmla="*/ 390052 w 1077828"/>
                <a:gd name="connsiteY632" fmla="*/ 158243 h 971607"/>
                <a:gd name="connsiteX633" fmla="*/ 405398 w 1077828"/>
                <a:gd name="connsiteY633" fmla="*/ 155093 h 971607"/>
                <a:gd name="connsiteX634" fmla="*/ 414558 w 1077828"/>
                <a:gd name="connsiteY634" fmla="*/ 152509 h 971607"/>
                <a:gd name="connsiteX635" fmla="*/ 472470 w 1077828"/>
                <a:gd name="connsiteY635" fmla="*/ 165432 h 971607"/>
                <a:gd name="connsiteX636" fmla="*/ 502711 w 1077828"/>
                <a:gd name="connsiteY636" fmla="*/ 177225 h 971607"/>
                <a:gd name="connsiteX637" fmla="*/ 507412 w 1077828"/>
                <a:gd name="connsiteY637" fmla="*/ 178339 h 971607"/>
                <a:gd name="connsiteX638" fmla="*/ 526490 w 1077828"/>
                <a:gd name="connsiteY638" fmla="*/ 185770 h 971607"/>
                <a:gd name="connsiteX639" fmla="*/ 538541 w 1077828"/>
                <a:gd name="connsiteY639" fmla="*/ 202829 h 971607"/>
                <a:gd name="connsiteX640" fmla="*/ 556989 w 1077828"/>
                <a:gd name="connsiteY640" fmla="*/ 239968 h 971607"/>
                <a:gd name="connsiteX641" fmla="*/ 574727 w 1077828"/>
                <a:gd name="connsiteY641" fmla="*/ 302081 h 97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</a:cxnLst>
              <a:rect l="l" t="t" r="r" b="b"/>
              <a:pathLst>
                <a:path w="1077828" h="971607">
                  <a:moveTo>
                    <a:pt x="1074360" y="402802"/>
                  </a:moveTo>
                  <a:cubicBezTo>
                    <a:pt x="1071856" y="399296"/>
                    <a:pt x="1067785" y="396453"/>
                    <a:pt x="1063860" y="393723"/>
                  </a:cubicBezTo>
                  <a:cubicBezTo>
                    <a:pt x="1057172" y="389071"/>
                    <a:pt x="1050258" y="384257"/>
                    <a:pt x="1049612" y="375582"/>
                  </a:cubicBezTo>
                  <a:cubicBezTo>
                    <a:pt x="1049369" y="372384"/>
                    <a:pt x="1050145" y="369444"/>
                    <a:pt x="1050904" y="366617"/>
                  </a:cubicBezTo>
                  <a:cubicBezTo>
                    <a:pt x="1051486" y="364420"/>
                    <a:pt x="1052035" y="362352"/>
                    <a:pt x="1052051" y="360349"/>
                  </a:cubicBezTo>
                  <a:cubicBezTo>
                    <a:pt x="1052100" y="355793"/>
                    <a:pt x="1049418" y="351448"/>
                    <a:pt x="1046785" y="347781"/>
                  </a:cubicBezTo>
                  <a:cubicBezTo>
                    <a:pt x="1039596" y="337781"/>
                    <a:pt x="1030243" y="328816"/>
                    <a:pt x="1021213" y="320141"/>
                  </a:cubicBezTo>
                  <a:cubicBezTo>
                    <a:pt x="1005995" y="305538"/>
                    <a:pt x="990245" y="290433"/>
                    <a:pt x="984123" y="269788"/>
                  </a:cubicBezTo>
                  <a:cubicBezTo>
                    <a:pt x="981247" y="260096"/>
                    <a:pt x="980795" y="249951"/>
                    <a:pt x="980359" y="240145"/>
                  </a:cubicBezTo>
                  <a:cubicBezTo>
                    <a:pt x="979890" y="229839"/>
                    <a:pt x="979454" y="220114"/>
                    <a:pt x="976482" y="210793"/>
                  </a:cubicBezTo>
                  <a:cubicBezTo>
                    <a:pt x="969067" y="187628"/>
                    <a:pt x="947614" y="172120"/>
                    <a:pt x="924384" y="156983"/>
                  </a:cubicBezTo>
                  <a:cubicBezTo>
                    <a:pt x="914579" y="150586"/>
                    <a:pt x="903449" y="143333"/>
                    <a:pt x="891365" y="141120"/>
                  </a:cubicBezTo>
                  <a:cubicBezTo>
                    <a:pt x="873305" y="137824"/>
                    <a:pt x="855309" y="145659"/>
                    <a:pt x="837879" y="153252"/>
                  </a:cubicBezTo>
                  <a:cubicBezTo>
                    <a:pt x="832548" y="155578"/>
                    <a:pt x="827039" y="157969"/>
                    <a:pt x="821595" y="160037"/>
                  </a:cubicBezTo>
                  <a:cubicBezTo>
                    <a:pt x="762600" y="182313"/>
                    <a:pt x="699486" y="168598"/>
                    <a:pt x="629053" y="149811"/>
                  </a:cubicBezTo>
                  <a:cubicBezTo>
                    <a:pt x="621202" y="147727"/>
                    <a:pt x="610460" y="144852"/>
                    <a:pt x="603869" y="137033"/>
                  </a:cubicBezTo>
                  <a:cubicBezTo>
                    <a:pt x="598118" y="130200"/>
                    <a:pt x="596632" y="121008"/>
                    <a:pt x="595307" y="112899"/>
                  </a:cubicBezTo>
                  <a:lnTo>
                    <a:pt x="595129" y="111768"/>
                  </a:lnTo>
                  <a:cubicBezTo>
                    <a:pt x="590525" y="83530"/>
                    <a:pt x="582044" y="56068"/>
                    <a:pt x="569945" y="30157"/>
                  </a:cubicBezTo>
                  <a:cubicBezTo>
                    <a:pt x="568879" y="27863"/>
                    <a:pt x="567861" y="25860"/>
                    <a:pt x="566343" y="24632"/>
                  </a:cubicBezTo>
                  <a:cubicBezTo>
                    <a:pt x="564905" y="23453"/>
                    <a:pt x="563209" y="23017"/>
                    <a:pt x="561157" y="23275"/>
                  </a:cubicBezTo>
                  <a:cubicBezTo>
                    <a:pt x="557199" y="23792"/>
                    <a:pt x="552450" y="27007"/>
                    <a:pt x="549365" y="31271"/>
                  </a:cubicBezTo>
                  <a:cubicBezTo>
                    <a:pt x="548347" y="32661"/>
                    <a:pt x="547378" y="34147"/>
                    <a:pt x="546408" y="35633"/>
                  </a:cubicBezTo>
                  <a:cubicBezTo>
                    <a:pt x="542434" y="41691"/>
                    <a:pt x="538315" y="47942"/>
                    <a:pt x="531062" y="50269"/>
                  </a:cubicBezTo>
                  <a:cubicBezTo>
                    <a:pt x="517105" y="54744"/>
                    <a:pt x="505167" y="40770"/>
                    <a:pt x="498737" y="33291"/>
                  </a:cubicBezTo>
                  <a:cubicBezTo>
                    <a:pt x="480612" y="12145"/>
                    <a:pt x="452052" y="-7046"/>
                    <a:pt x="426221" y="2533"/>
                  </a:cubicBezTo>
                  <a:cubicBezTo>
                    <a:pt x="414170" y="7008"/>
                    <a:pt x="404704" y="17153"/>
                    <a:pt x="396352" y="26118"/>
                  </a:cubicBezTo>
                  <a:cubicBezTo>
                    <a:pt x="377193" y="46682"/>
                    <a:pt x="357372" y="67925"/>
                    <a:pt x="340991" y="91284"/>
                  </a:cubicBezTo>
                  <a:cubicBezTo>
                    <a:pt x="339780" y="93013"/>
                    <a:pt x="338584" y="94757"/>
                    <a:pt x="337373" y="96502"/>
                  </a:cubicBezTo>
                  <a:cubicBezTo>
                    <a:pt x="327309" y="111122"/>
                    <a:pt x="316889" y="126226"/>
                    <a:pt x="300364" y="133221"/>
                  </a:cubicBezTo>
                  <a:cubicBezTo>
                    <a:pt x="279686" y="141976"/>
                    <a:pt x="256360" y="134933"/>
                    <a:pt x="234261" y="126985"/>
                  </a:cubicBezTo>
                  <a:cubicBezTo>
                    <a:pt x="228170" y="124788"/>
                    <a:pt x="220594" y="122058"/>
                    <a:pt x="215392" y="116404"/>
                  </a:cubicBezTo>
                  <a:cubicBezTo>
                    <a:pt x="207832" y="108165"/>
                    <a:pt x="207235" y="96357"/>
                    <a:pt x="206701" y="85937"/>
                  </a:cubicBezTo>
                  <a:lnTo>
                    <a:pt x="206572" y="83433"/>
                  </a:lnTo>
                  <a:cubicBezTo>
                    <a:pt x="205005" y="55115"/>
                    <a:pt x="196637" y="27378"/>
                    <a:pt x="182357" y="2888"/>
                  </a:cubicBezTo>
                  <a:cubicBezTo>
                    <a:pt x="181630" y="4019"/>
                    <a:pt x="180645" y="4956"/>
                    <a:pt x="179239" y="5505"/>
                  </a:cubicBezTo>
                  <a:cubicBezTo>
                    <a:pt x="176687" y="6523"/>
                    <a:pt x="174118" y="5715"/>
                    <a:pt x="172245" y="5134"/>
                  </a:cubicBezTo>
                  <a:lnTo>
                    <a:pt x="171921" y="5037"/>
                  </a:lnTo>
                  <a:cubicBezTo>
                    <a:pt x="163295" y="2372"/>
                    <a:pt x="153893" y="3648"/>
                    <a:pt x="147383" y="8365"/>
                  </a:cubicBezTo>
                  <a:cubicBezTo>
                    <a:pt x="140421" y="13405"/>
                    <a:pt x="136980" y="22564"/>
                    <a:pt x="139225" y="30124"/>
                  </a:cubicBezTo>
                  <a:cubicBezTo>
                    <a:pt x="139597" y="31384"/>
                    <a:pt x="139920" y="31594"/>
                    <a:pt x="139920" y="31594"/>
                  </a:cubicBezTo>
                  <a:cubicBezTo>
                    <a:pt x="140033" y="31643"/>
                    <a:pt x="140534" y="31724"/>
                    <a:pt x="142731" y="30383"/>
                  </a:cubicBezTo>
                  <a:cubicBezTo>
                    <a:pt x="149451" y="26296"/>
                    <a:pt x="157124" y="23469"/>
                    <a:pt x="164878" y="22209"/>
                  </a:cubicBezTo>
                  <a:cubicBezTo>
                    <a:pt x="170241" y="21353"/>
                    <a:pt x="176202" y="22774"/>
                    <a:pt x="177430" y="27911"/>
                  </a:cubicBezTo>
                  <a:cubicBezTo>
                    <a:pt x="178222" y="31239"/>
                    <a:pt x="176590" y="34551"/>
                    <a:pt x="172600" y="37782"/>
                  </a:cubicBezTo>
                  <a:cubicBezTo>
                    <a:pt x="163731" y="44954"/>
                    <a:pt x="153344" y="50414"/>
                    <a:pt x="142392" y="53677"/>
                  </a:cubicBezTo>
                  <a:cubicBezTo>
                    <a:pt x="143506" y="57748"/>
                    <a:pt x="144621" y="64323"/>
                    <a:pt x="142198" y="69314"/>
                  </a:cubicBezTo>
                  <a:cubicBezTo>
                    <a:pt x="140938" y="71915"/>
                    <a:pt x="138838" y="73773"/>
                    <a:pt x="136124" y="74678"/>
                  </a:cubicBezTo>
                  <a:cubicBezTo>
                    <a:pt x="129904" y="76729"/>
                    <a:pt x="124541" y="72642"/>
                    <a:pt x="119808" y="69024"/>
                  </a:cubicBezTo>
                  <a:cubicBezTo>
                    <a:pt x="115026" y="65389"/>
                    <a:pt x="111925" y="63289"/>
                    <a:pt x="109146" y="64791"/>
                  </a:cubicBezTo>
                  <a:cubicBezTo>
                    <a:pt x="105512" y="66730"/>
                    <a:pt x="106432" y="73612"/>
                    <a:pt x="106804" y="75663"/>
                  </a:cubicBezTo>
                  <a:cubicBezTo>
                    <a:pt x="108339" y="84241"/>
                    <a:pt x="111262" y="92447"/>
                    <a:pt x="115495" y="100072"/>
                  </a:cubicBezTo>
                  <a:cubicBezTo>
                    <a:pt x="119436" y="107196"/>
                    <a:pt x="126787" y="120459"/>
                    <a:pt x="118015" y="128455"/>
                  </a:cubicBezTo>
                  <a:cubicBezTo>
                    <a:pt x="116157" y="130151"/>
                    <a:pt x="113928" y="131104"/>
                    <a:pt x="111957" y="131944"/>
                  </a:cubicBezTo>
                  <a:cubicBezTo>
                    <a:pt x="111133" y="132300"/>
                    <a:pt x="110309" y="132655"/>
                    <a:pt x="109518" y="133059"/>
                  </a:cubicBezTo>
                  <a:cubicBezTo>
                    <a:pt x="101441" y="137243"/>
                    <a:pt x="104058" y="151362"/>
                    <a:pt x="105544" y="157226"/>
                  </a:cubicBezTo>
                  <a:cubicBezTo>
                    <a:pt x="107111" y="164544"/>
                    <a:pt x="104300" y="172039"/>
                    <a:pt x="98242" y="176918"/>
                  </a:cubicBezTo>
                  <a:cubicBezTo>
                    <a:pt x="95383" y="179212"/>
                    <a:pt x="92233" y="180940"/>
                    <a:pt x="89180" y="182604"/>
                  </a:cubicBezTo>
                  <a:cubicBezTo>
                    <a:pt x="86288" y="184187"/>
                    <a:pt x="83558" y="185689"/>
                    <a:pt x="81135" y="187580"/>
                  </a:cubicBezTo>
                  <a:cubicBezTo>
                    <a:pt x="76838" y="190972"/>
                    <a:pt x="73494" y="197014"/>
                    <a:pt x="75739" y="201569"/>
                  </a:cubicBezTo>
                  <a:cubicBezTo>
                    <a:pt x="78679" y="207498"/>
                    <a:pt x="88437" y="206965"/>
                    <a:pt x="91360" y="206674"/>
                  </a:cubicBezTo>
                  <a:cubicBezTo>
                    <a:pt x="98662" y="205915"/>
                    <a:pt x="106045" y="203944"/>
                    <a:pt x="113185" y="202037"/>
                  </a:cubicBezTo>
                  <a:cubicBezTo>
                    <a:pt x="123556" y="199275"/>
                    <a:pt x="134266" y="196400"/>
                    <a:pt x="145332" y="196997"/>
                  </a:cubicBezTo>
                  <a:cubicBezTo>
                    <a:pt x="147303" y="197110"/>
                    <a:pt x="149548" y="197434"/>
                    <a:pt x="151276" y="199033"/>
                  </a:cubicBezTo>
                  <a:cubicBezTo>
                    <a:pt x="154960" y="202441"/>
                    <a:pt x="153247" y="207918"/>
                    <a:pt x="149903" y="211811"/>
                  </a:cubicBezTo>
                  <a:cubicBezTo>
                    <a:pt x="139048" y="224492"/>
                    <a:pt x="123313" y="232908"/>
                    <a:pt x="106739" y="234879"/>
                  </a:cubicBezTo>
                  <a:cubicBezTo>
                    <a:pt x="100100" y="235671"/>
                    <a:pt x="92233" y="237577"/>
                    <a:pt x="92540" y="242197"/>
                  </a:cubicBezTo>
                  <a:cubicBezTo>
                    <a:pt x="92766" y="245719"/>
                    <a:pt x="97709" y="247835"/>
                    <a:pt x="102071" y="249692"/>
                  </a:cubicBezTo>
                  <a:lnTo>
                    <a:pt x="102329" y="249806"/>
                  </a:lnTo>
                  <a:cubicBezTo>
                    <a:pt x="105867" y="251324"/>
                    <a:pt x="110536" y="254668"/>
                    <a:pt x="112038" y="259110"/>
                  </a:cubicBezTo>
                  <a:cubicBezTo>
                    <a:pt x="112829" y="261485"/>
                    <a:pt x="112619" y="263843"/>
                    <a:pt x="111424" y="265960"/>
                  </a:cubicBezTo>
                  <a:cubicBezTo>
                    <a:pt x="109437" y="269449"/>
                    <a:pt x="105673" y="270596"/>
                    <a:pt x="102345" y="271630"/>
                  </a:cubicBezTo>
                  <a:cubicBezTo>
                    <a:pt x="99938" y="272373"/>
                    <a:pt x="98258" y="272938"/>
                    <a:pt x="97499" y="273827"/>
                  </a:cubicBezTo>
                  <a:cubicBezTo>
                    <a:pt x="101247" y="279465"/>
                    <a:pt x="108629" y="282566"/>
                    <a:pt x="115269" y="281048"/>
                  </a:cubicBezTo>
                  <a:cubicBezTo>
                    <a:pt x="118370" y="280337"/>
                    <a:pt x="121423" y="278770"/>
                    <a:pt x="124638" y="277106"/>
                  </a:cubicBezTo>
                  <a:cubicBezTo>
                    <a:pt x="130195" y="274215"/>
                    <a:pt x="135946" y="271242"/>
                    <a:pt x="142537" y="272744"/>
                  </a:cubicBezTo>
                  <a:cubicBezTo>
                    <a:pt x="145752" y="273488"/>
                    <a:pt x="148304" y="275313"/>
                    <a:pt x="149532" y="277785"/>
                  </a:cubicBezTo>
                  <a:cubicBezTo>
                    <a:pt x="150550" y="279820"/>
                    <a:pt x="150646" y="282098"/>
                    <a:pt x="149823" y="284359"/>
                  </a:cubicBezTo>
                  <a:cubicBezTo>
                    <a:pt x="148708" y="287429"/>
                    <a:pt x="145962" y="290239"/>
                    <a:pt x="142666" y="291709"/>
                  </a:cubicBezTo>
                  <a:cubicBezTo>
                    <a:pt x="140825" y="292533"/>
                    <a:pt x="138951" y="293034"/>
                    <a:pt x="137125" y="293519"/>
                  </a:cubicBezTo>
                  <a:cubicBezTo>
                    <a:pt x="134880" y="294116"/>
                    <a:pt x="132764" y="294682"/>
                    <a:pt x="131051" y="295764"/>
                  </a:cubicBezTo>
                  <a:cubicBezTo>
                    <a:pt x="129630" y="296653"/>
                    <a:pt x="128499" y="298494"/>
                    <a:pt x="128386" y="300061"/>
                  </a:cubicBezTo>
                  <a:cubicBezTo>
                    <a:pt x="128321" y="301160"/>
                    <a:pt x="128790" y="301547"/>
                    <a:pt x="128967" y="301693"/>
                  </a:cubicBezTo>
                  <a:cubicBezTo>
                    <a:pt x="130276" y="302759"/>
                    <a:pt x="133087" y="301951"/>
                    <a:pt x="135558" y="301224"/>
                  </a:cubicBezTo>
                  <a:lnTo>
                    <a:pt x="136027" y="301095"/>
                  </a:lnTo>
                  <a:cubicBezTo>
                    <a:pt x="143539" y="298914"/>
                    <a:pt x="151793" y="298963"/>
                    <a:pt x="159289" y="301208"/>
                  </a:cubicBezTo>
                  <a:cubicBezTo>
                    <a:pt x="161793" y="301967"/>
                    <a:pt x="165298" y="303357"/>
                    <a:pt x="166946" y="306733"/>
                  </a:cubicBezTo>
                  <a:cubicBezTo>
                    <a:pt x="169611" y="312209"/>
                    <a:pt x="165298" y="318154"/>
                    <a:pt x="159903" y="320981"/>
                  </a:cubicBezTo>
                  <a:cubicBezTo>
                    <a:pt x="154313" y="323905"/>
                    <a:pt x="147916" y="325181"/>
                    <a:pt x="141729" y="326425"/>
                  </a:cubicBezTo>
                  <a:cubicBezTo>
                    <a:pt x="132538" y="328266"/>
                    <a:pt x="123863" y="330011"/>
                    <a:pt x="119388" y="336893"/>
                  </a:cubicBezTo>
                  <a:cubicBezTo>
                    <a:pt x="118968" y="337539"/>
                    <a:pt x="118580" y="338218"/>
                    <a:pt x="118193" y="338912"/>
                  </a:cubicBezTo>
                  <a:cubicBezTo>
                    <a:pt x="116820" y="341368"/>
                    <a:pt x="115253" y="344146"/>
                    <a:pt x="112199" y="345616"/>
                  </a:cubicBezTo>
                  <a:cubicBezTo>
                    <a:pt x="104833" y="349170"/>
                    <a:pt x="98064" y="341981"/>
                    <a:pt x="94511" y="334744"/>
                  </a:cubicBezTo>
                  <a:lnTo>
                    <a:pt x="62751" y="270224"/>
                  </a:lnTo>
                  <a:cubicBezTo>
                    <a:pt x="61136" y="266961"/>
                    <a:pt x="57889" y="261582"/>
                    <a:pt x="54254" y="262260"/>
                  </a:cubicBezTo>
                  <a:cubicBezTo>
                    <a:pt x="50668" y="262939"/>
                    <a:pt x="49699" y="268593"/>
                    <a:pt x="49198" y="274602"/>
                  </a:cubicBezTo>
                  <a:cubicBezTo>
                    <a:pt x="48810" y="279125"/>
                    <a:pt x="46436" y="285183"/>
                    <a:pt x="42122" y="287784"/>
                  </a:cubicBezTo>
                  <a:cubicBezTo>
                    <a:pt x="39812" y="289173"/>
                    <a:pt x="37195" y="289367"/>
                    <a:pt x="34740" y="288317"/>
                  </a:cubicBezTo>
                  <a:cubicBezTo>
                    <a:pt x="31945" y="287122"/>
                    <a:pt x="30362" y="284634"/>
                    <a:pt x="29086" y="282631"/>
                  </a:cubicBezTo>
                  <a:lnTo>
                    <a:pt x="28828" y="282243"/>
                  </a:lnTo>
                  <a:cubicBezTo>
                    <a:pt x="25419" y="276928"/>
                    <a:pt x="21671" y="273859"/>
                    <a:pt x="17697" y="273132"/>
                  </a:cubicBezTo>
                  <a:cubicBezTo>
                    <a:pt x="15420" y="272712"/>
                    <a:pt x="12770" y="273455"/>
                    <a:pt x="10929" y="275038"/>
                  </a:cubicBezTo>
                  <a:cubicBezTo>
                    <a:pt x="10008" y="275830"/>
                    <a:pt x="8926" y="277138"/>
                    <a:pt x="8990" y="278931"/>
                  </a:cubicBezTo>
                  <a:cubicBezTo>
                    <a:pt x="9039" y="280466"/>
                    <a:pt x="9846" y="282130"/>
                    <a:pt x="10622" y="283745"/>
                  </a:cubicBezTo>
                  <a:lnTo>
                    <a:pt x="34805" y="333743"/>
                  </a:lnTo>
                  <a:cubicBezTo>
                    <a:pt x="36759" y="332014"/>
                    <a:pt x="37567" y="328460"/>
                    <a:pt x="38504" y="323372"/>
                  </a:cubicBezTo>
                  <a:cubicBezTo>
                    <a:pt x="39667" y="317072"/>
                    <a:pt x="41008" y="309948"/>
                    <a:pt x="47292" y="307024"/>
                  </a:cubicBezTo>
                  <a:cubicBezTo>
                    <a:pt x="50280" y="305634"/>
                    <a:pt x="53560" y="305667"/>
                    <a:pt x="56742" y="307121"/>
                  </a:cubicBezTo>
                  <a:cubicBezTo>
                    <a:pt x="61378" y="309237"/>
                    <a:pt x="65578" y="314455"/>
                    <a:pt x="67194" y="320092"/>
                  </a:cubicBezTo>
                  <a:cubicBezTo>
                    <a:pt x="67872" y="322467"/>
                    <a:pt x="68308" y="324890"/>
                    <a:pt x="68728" y="327249"/>
                  </a:cubicBezTo>
                  <a:cubicBezTo>
                    <a:pt x="69601" y="332095"/>
                    <a:pt x="70425" y="336683"/>
                    <a:pt x="73139" y="340059"/>
                  </a:cubicBezTo>
                  <a:cubicBezTo>
                    <a:pt x="74463" y="341707"/>
                    <a:pt x="76256" y="343064"/>
                    <a:pt x="78130" y="344502"/>
                  </a:cubicBezTo>
                  <a:cubicBezTo>
                    <a:pt x="79487" y="345535"/>
                    <a:pt x="80893" y="346585"/>
                    <a:pt x="82201" y="347829"/>
                  </a:cubicBezTo>
                  <a:cubicBezTo>
                    <a:pt x="85626" y="351060"/>
                    <a:pt x="88824" y="356730"/>
                    <a:pt x="86547" y="362077"/>
                  </a:cubicBezTo>
                  <a:cubicBezTo>
                    <a:pt x="85803" y="363806"/>
                    <a:pt x="84640" y="365130"/>
                    <a:pt x="83606" y="366294"/>
                  </a:cubicBezTo>
                  <a:cubicBezTo>
                    <a:pt x="83203" y="366746"/>
                    <a:pt x="82799" y="367198"/>
                    <a:pt x="82443" y="367667"/>
                  </a:cubicBezTo>
                  <a:cubicBezTo>
                    <a:pt x="80473" y="370235"/>
                    <a:pt x="80004" y="373934"/>
                    <a:pt x="81199" y="377537"/>
                  </a:cubicBezTo>
                  <a:cubicBezTo>
                    <a:pt x="82395" y="381155"/>
                    <a:pt x="84963" y="383853"/>
                    <a:pt x="88065" y="384742"/>
                  </a:cubicBezTo>
                  <a:cubicBezTo>
                    <a:pt x="92104" y="385905"/>
                    <a:pt x="96530" y="384742"/>
                    <a:pt x="101231" y="383514"/>
                  </a:cubicBezTo>
                  <a:cubicBezTo>
                    <a:pt x="102507" y="383175"/>
                    <a:pt x="103783" y="382852"/>
                    <a:pt x="105059" y="382561"/>
                  </a:cubicBezTo>
                  <a:cubicBezTo>
                    <a:pt x="109809" y="381478"/>
                    <a:pt x="116626" y="382012"/>
                    <a:pt x="122215" y="390654"/>
                  </a:cubicBezTo>
                  <a:cubicBezTo>
                    <a:pt x="124767" y="394063"/>
                    <a:pt x="121795" y="397730"/>
                    <a:pt x="120018" y="399910"/>
                  </a:cubicBezTo>
                  <a:cubicBezTo>
                    <a:pt x="119582" y="400444"/>
                    <a:pt x="119162" y="400960"/>
                    <a:pt x="118774" y="401493"/>
                  </a:cubicBezTo>
                  <a:cubicBezTo>
                    <a:pt x="114574" y="407406"/>
                    <a:pt x="109582" y="409296"/>
                    <a:pt x="103799" y="411509"/>
                  </a:cubicBezTo>
                  <a:cubicBezTo>
                    <a:pt x="102798" y="411897"/>
                    <a:pt x="101748" y="412285"/>
                    <a:pt x="100665" y="412721"/>
                  </a:cubicBezTo>
                  <a:cubicBezTo>
                    <a:pt x="96078" y="414562"/>
                    <a:pt x="92136" y="417971"/>
                    <a:pt x="90860" y="421218"/>
                  </a:cubicBezTo>
                  <a:cubicBezTo>
                    <a:pt x="90262" y="422752"/>
                    <a:pt x="90278" y="424142"/>
                    <a:pt x="90908" y="425499"/>
                  </a:cubicBezTo>
                  <a:cubicBezTo>
                    <a:pt x="93816" y="431702"/>
                    <a:pt x="92200" y="438115"/>
                    <a:pt x="90634" y="444302"/>
                  </a:cubicBezTo>
                  <a:cubicBezTo>
                    <a:pt x="89438" y="449019"/>
                    <a:pt x="88323" y="453462"/>
                    <a:pt x="89196" y="457565"/>
                  </a:cubicBezTo>
                  <a:cubicBezTo>
                    <a:pt x="89923" y="460957"/>
                    <a:pt x="92023" y="463994"/>
                    <a:pt x="94236" y="467225"/>
                  </a:cubicBezTo>
                  <a:cubicBezTo>
                    <a:pt x="96287" y="470181"/>
                    <a:pt x="98404" y="473250"/>
                    <a:pt x="99631" y="476869"/>
                  </a:cubicBezTo>
                  <a:cubicBezTo>
                    <a:pt x="103460" y="488096"/>
                    <a:pt x="97612" y="498451"/>
                    <a:pt x="91942" y="508434"/>
                  </a:cubicBezTo>
                  <a:cubicBezTo>
                    <a:pt x="89584" y="512618"/>
                    <a:pt x="87128" y="516932"/>
                    <a:pt x="85513" y="521148"/>
                  </a:cubicBezTo>
                  <a:cubicBezTo>
                    <a:pt x="84075" y="524895"/>
                    <a:pt x="83881" y="527836"/>
                    <a:pt x="84947" y="529871"/>
                  </a:cubicBezTo>
                  <a:cubicBezTo>
                    <a:pt x="86013" y="531955"/>
                    <a:pt x="88469" y="533360"/>
                    <a:pt x="91312" y="534846"/>
                  </a:cubicBezTo>
                  <a:cubicBezTo>
                    <a:pt x="104898" y="541954"/>
                    <a:pt x="119049" y="547754"/>
                    <a:pt x="130615" y="542148"/>
                  </a:cubicBezTo>
                  <a:cubicBezTo>
                    <a:pt x="132893" y="541033"/>
                    <a:pt x="135009" y="539499"/>
                    <a:pt x="137255" y="537883"/>
                  </a:cubicBezTo>
                  <a:cubicBezTo>
                    <a:pt x="140453" y="535557"/>
                    <a:pt x="143765" y="533166"/>
                    <a:pt x="147803" y="531890"/>
                  </a:cubicBezTo>
                  <a:cubicBezTo>
                    <a:pt x="152585" y="530372"/>
                    <a:pt x="158497" y="531697"/>
                    <a:pt x="162164" y="535073"/>
                  </a:cubicBezTo>
                  <a:cubicBezTo>
                    <a:pt x="164797" y="537512"/>
                    <a:pt x="165896" y="540775"/>
                    <a:pt x="165137" y="544038"/>
                  </a:cubicBezTo>
                  <a:cubicBezTo>
                    <a:pt x="164749" y="545767"/>
                    <a:pt x="163893" y="547188"/>
                    <a:pt x="163150" y="548448"/>
                  </a:cubicBezTo>
                  <a:cubicBezTo>
                    <a:pt x="162617" y="549353"/>
                    <a:pt x="162116" y="550209"/>
                    <a:pt x="161874" y="551001"/>
                  </a:cubicBezTo>
                  <a:cubicBezTo>
                    <a:pt x="161308" y="552923"/>
                    <a:pt x="162568" y="554474"/>
                    <a:pt x="163360" y="555217"/>
                  </a:cubicBezTo>
                  <a:cubicBezTo>
                    <a:pt x="165428" y="557155"/>
                    <a:pt x="168610" y="557963"/>
                    <a:pt x="170952" y="557107"/>
                  </a:cubicBezTo>
                  <a:cubicBezTo>
                    <a:pt x="176784" y="555007"/>
                    <a:pt x="179352" y="547851"/>
                    <a:pt x="180354" y="543764"/>
                  </a:cubicBezTo>
                  <a:cubicBezTo>
                    <a:pt x="180822" y="541841"/>
                    <a:pt x="181194" y="539903"/>
                    <a:pt x="181566" y="537851"/>
                  </a:cubicBezTo>
                  <a:cubicBezTo>
                    <a:pt x="182422" y="533215"/>
                    <a:pt x="183326" y="528417"/>
                    <a:pt x="185588" y="523975"/>
                  </a:cubicBezTo>
                  <a:cubicBezTo>
                    <a:pt x="186703" y="521810"/>
                    <a:pt x="188108" y="519694"/>
                    <a:pt x="189465" y="517642"/>
                  </a:cubicBezTo>
                  <a:cubicBezTo>
                    <a:pt x="192873" y="512537"/>
                    <a:pt x="195797" y="508111"/>
                    <a:pt x="194069" y="503911"/>
                  </a:cubicBezTo>
                  <a:cubicBezTo>
                    <a:pt x="193552" y="502667"/>
                    <a:pt x="192583" y="501472"/>
                    <a:pt x="191549" y="500196"/>
                  </a:cubicBezTo>
                  <a:cubicBezTo>
                    <a:pt x="190111" y="498435"/>
                    <a:pt x="188480" y="496432"/>
                    <a:pt x="187769" y="493815"/>
                  </a:cubicBezTo>
                  <a:cubicBezTo>
                    <a:pt x="185992" y="487353"/>
                    <a:pt x="190773" y="481150"/>
                    <a:pt x="196427" y="478872"/>
                  </a:cubicBezTo>
                  <a:cubicBezTo>
                    <a:pt x="200014" y="477418"/>
                    <a:pt x="203858" y="477224"/>
                    <a:pt x="207428" y="477402"/>
                  </a:cubicBezTo>
                  <a:cubicBezTo>
                    <a:pt x="206168" y="473671"/>
                    <a:pt x="205587" y="469406"/>
                    <a:pt x="206895" y="466030"/>
                  </a:cubicBezTo>
                  <a:cubicBezTo>
                    <a:pt x="207832" y="463590"/>
                    <a:pt x="209642" y="461846"/>
                    <a:pt x="212097" y="460989"/>
                  </a:cubicBezTo>
                  <a:cubicBezTo>
                    <a:pt x="215021" y="459972"/>
                    <a:pt x="217945" y="460699"/>
                    <a:pt x="220093" y="461232"/>
                  </a:cubicBezTo>
                  <a:lnTo>
                    <a:pt x="247701" y="468017"/>
                  </a:lnTo>
                  <a:cubicBezTo>
                    <a:pt x="250382" y="468679"/>
                    <a:pt x="255940" y="470052"/>
                    <a:pt x="257700" y="474914"/>
                  </a:cubicBezTo>
                  <a:cubicBezTo>
                    <a:pt x="260269" y="482054"/>
                    <a:pt x="252773" y="486755"/>
                    <a:pt x="247830" y="489857"/>
                  </a:cubicBezTo>
                  <a:lnTo>
                    <a:pt x="247362" y="490148"/>
                  </a:lnTo>
                  <a:cubicBezTo>
                    <a:pt x="234228" y="498402"/>
                    <a:pt x="230416" y="516318"/>
                    <a:pt x="227880" y="532456"/>
                  </a:cubicBezTo>
                  <a:cubicBezTo>
                    <a:pt x="227411" y="535396"/>
                    <a:pt x="226943" y="538433"/>
                    <a:pt x="227605" y="541114"/>
                  </a:cubicBezTo>
                  <a:cubicBezTo>
                    <a:pt x="229075" y="546994"/>
                    <a:pt x="235892" y="550258"/>
                    <a:pt x="241982" y="550888"/>
                  </a:cubicBezTo>
                  <a:cubicBezTo>
                    <a:pt x="245827" y="551291"/>
                    <a:pt x="249704" y="550985"/>
                    <a:pt x="253807" y="550678"/>
                  </a:cubicBezTo>
                  <a:cubicBezTo>
                    <a:pt x="257054" y="550435"/>
                    <a:pt x="260414" y="550161"/>
                    <a:pt x="263807" y="550290"/>
                  </a:cubicBezTo>
                  <a:cubicBezTo>
                    <a:pt x="270737" y="550516"/>
                    <a:pt x="276358" y="552358"/>
                    <a:pt x="280526" y="555750"/>
                  </a:cubicBezTo>
                  <a:cubicBezTo>
                    <a:pt x="285922" y="560144"/>
                    <a:pt x="288296" y="567300"/>
                    <a:pt x="286309" y="573180"/>
                  </a:cubicBezTo>
                  <a:cubicBezTo>
                    <a:pt x="283159" y="582469"/>
                    <a:pt x="272950" y="584149"/>
                    <a:pt x="263920" y="585635"/>
                  </a:cubicBezTo>
                  <a:cubicBezTo>
                    <a:pt x="255826" y="586960"/>
                    <a:pt x="248186" y="588220"/>
                    <a:pt x="245811" y="594068"/>
                  </a:cubicBezTo>
                  <a:cubicBezTo>
                    <a:pt x="244922" y="596265"/>
                    <a:pt x="244890" y="599011"/>
                    <a:pt x="244858" y="601903"/>
                  </a:cubicBezTo>
                  <a:cubicBezTo>
                    <a:pt x="244809" y="606474"/>
                    <a:pt x="244745" y="611676"/>
                    <a:pt x="240803" y="615327"/>
                  </a:cubicBezTo>
                  <a:cubicBezTo>
                    <a:pt x="240641" y="615472"/>
                    <a:pt x="240464" y="615601"/>
                    <a:pt x="240286" y="615714"/>
                  </a:cubicBezTo>
                  <a:cubicBezTo>
                    <a:pt x="237491" y="617330"/>
                    <a:pt x="234277" y="617378"/>
                    <a:pt x="231207" y="615892"/>
                  </a:cubicBezTo>
                  <a:cubicBezTo>
                    <a:pt x="226717" y="613711"/>
                    <a:pt x="223017" y="608397"/>
                    <a:pt x="222242" y="602969"/>
                  </a:cubicBezTo>
                  <a:cubicBezTo>
                    <a:pt x="221886" y="600481"/>
                    <a:pt x="221838" y="597961"/>
                    <a:pt x="221806" y="595538"/>
                  </a:cubicBezTo>
                  <a:cubicBezTo>
                    <a:pt x="221741" y="591209"/>
                    <a:pt x="221676" y="587121"/>
                    <a:pt x="219819" y="583858"/>
                  </a:cubicBezTo>
                  <a:cubicBezTo>
                    <a:pt x="216604" y="578220"/>
                    <a:pt x="208818" y="576767"/>
                    <a:pt x="202776" y="578237"/>
                  </a:cubicBezTo>
                  <a:cubicBezTo>
                    <a:pt x="195814" y="579933"/>
                    <a:pt x="189627" y="584828"/>
                    <a:pt x="184166" y="589157"/>
                  </a:cubicBezTo>
                  <a:cubicBezTo>
                    <a:pt x="179692" y="592711"/>
                    <a:pt x="176590" y="597040"/>
                    <a:pt x="176299" y="600206"/>
                  </a:cubicBezTo>
                  <a:cubicBezTo>
                    <a:pt x="176186" y="601466"/>
                    <a:pt x="176493" y="602468"/>
                    <a:pt x="177301" y="603405"/>
                  </a:cubicBezTo>
                  <a:cubicBezTo>
                    <a:pt x="178028" y="604245"/>
                    <a:pt x="179207" y="604891"/>
                    <a:pt x="180451" y="605586"/>
                  </a:cubicBezTo>
                  <a:cubicBezTo>
                    <a:pt x="181598" y="606216"/>
                    <a:pt x="182906" y="606943"/>
                    <a:pt x="184086" y="607944"/>
                  </a:cubicBezTo>
                  <a:cubicBezTo>
                    <a:pt x="186234" y="609770"/>
                    <a:pt x="187430" y="612920"/>
                    <a:pt x="186993" y="615601"/>
                  </a:cubicBezTo>
                  <a:cubicBezTo>
                    <a:pt x="186670" y="617653"/>
                    <a:pt x="185410" y="619268"/>
                    <a:pt x="183569" y="620011"/>
                  </a:cubicBezTo>
                  <a:cubicBezTo>
                    <a:pt x="182196" y="620577"/>
                    <a:pt x="180855" y="620512"/>
                    <a:pt x="179708" y="620399"/>
                  </a:cubicBezTo>
                  <a:cubicBezTo>
                    <a:pt x="165153" y="619010"/>
                    <a:pt x="151293" y="611886"/>
                    <a:pt x="141665" y="600869"/>
                  </a:cubicBezTo>
                  <a:cubicBezTo>
                    <a:pt x="140292" y="599302"/>
                    <a:pt x="139015" y="597654"/>
                    <a:pt x="137772" y="596071"/>
                  </a:cubicBezTo>
                  <a:cubicBezTo>
                    <a:pt x="135106" y="592662"/>
                    <a:pt x="132602" y="589448"/>
                    <a:pt x="129420" y="587041"/>
                  </a:cubicBezTo>
                  <a:cubicBezTo>
                    <a:pt x="125333" y="583955"/>
                    <a:pt x="119162" y="582437"/>
                    <a:pt x="115285" y="585506"/>
                  </a:cubicBezTo>
                  <a:cubicBezTo>
                    <a:pt x="108694" y="590724"/>
                    <a:pt x="99631" y="586605"/>
                    <a:pt x="94220" y="584149"/>
                  </a:cubicBezTo>
                  <a:cubicBezTo>
                    <a:pt x="90278" y="582356"/>
                    <a:pt x="82928" y="580385"/>
                    <a:pt x="80489" y="584375"/>
                  </a:cubicBezTo>
                  <a:cubicBezTo>
                    <a:pt x="78938" y="586911"/>
                    <a:pt x="80602" y="590805"/>
                    <a:pt x="83122" y="592856"/>
                  </a:cubicBezTo>
                  <a:cubicBezTo>
                    <a:pt x="85771" y="595005"/>
                    <a:pt x="89260" y="596071"/>
                    <a:pt x="92960" y="597186"/>
                  </a:cubicBezTo>
                  <a:lnTo>
                    <a:pt x="94801" y="597751"/>
                  </a:lnTo>
                  <a:cubicBezTo>
                    <a:pt x="113637" y="603680"/>
                    <a:pt x="130502" y="615666"/>
                    <a:pt x="142295" y="631497"/>
                  </a:cubicBezTo>
                  <a:lnTo>
                    <a:pt x="142731" y="632079"/>
                  </a:lnTo>
                  <a:cubicBezTo>
                    <a:pt x="145299" y="635552"/>
                    <a:pt x="147965" y="639138"/>
                    <a:pt x="151454" y="639736"/>
                  </a:cubicBezTo>
                  <a:cubicBezTo>
                    <a:pt x="153845" y="640140"/>
                    <a:pt x="156462" y="639090"/>
                    <a:pt x="159224" y="637975"/>
                  </a:cubicBezTo>
                  <a:cubicBezTo>
                    <a:pt x="160759" y="637361"/>
                    <a:pt x="162358" y="636715"/>
                    <a:pt x="164038" y="636263"/>
                  </a:cubicBezTo>
                  <a:cubicBezTo>
                    <a:pt x="170096" y="634631"/>
                    <a:pt x="176962" y="636246"/>
                    <a:pt x="182422" y="640560"/>
                  </a:cubicBezTo>
                  <a:cubicBezTo>
                    <a:pt x="187866" y="644873"/>
                    <a:pt x="191016" y="651189"/>
                    <a:pt x="190822" y="657457"/>
                  </a:cubicBezTo>
                  <a:cubicBezTo>
                    <a:pt x="190677" y="662594"/>
                    <a:pt x="195749" y="666729"/>
                    <a:pt x="198802" y="668733"/>
                  </a:cubicBezTo>
                  <a:cubicBezTo>
                    <a:pt x="200046" y="669556"/>
                    <a:pt x="201338" y="670316"/>
                    <a:pt x="202614" y="671075"/>
                  </a:cubicBezTo>
                  <a:cubicBezTo>
                    <a:pt x="206475" y="673369"/>
                    <a:pt x="210465" y="675743"/>
                    <a:pt x="213470" y="679491"/>
                  </a:cubicBezTo>
                  <a:cubicBezTo>
                    <a:pt x="216184" y="682867"/>
                    <a:pt x="217476" y="687536"/>
                    <a:pt x="216863" y="691672"/>
                  </a:cubicBezTo>
                  <a:cubicBezTo>
                    <a:pt x="216378" y="694886"/>
                    <a:pt x="214811" y="697471"/>
                    <a:pt x="212339" y="699167"/>
                  </a:cubicBezTo>
                  <a:cubicBezTo>
                    <a:pt x="206895" y="702866"/>
                    <a:pt x="199820" y="700427"/>
                    <a:pt x="195410" y="697196"/>
                  </a:cubicBezTo>
                  <a:cubicBezTo>
                    <a:pt x="193907" y="696098"/>
                    <a:pt x="192534" y="694902"/>
                    <a:pt x="191210" y="693723"/>
                  </a:cubicBezTo>
                  <a:cubicBezTo>
                    <a:pt x="188932" y="691720"/>
                    <a:pt x="186767" y="689830"/>
                    <a:pt x="184279" y="688715"/>
                  </a:cubicBezTo>
                  <a:cubicBezTo>
                    <a:pt x="182260" y="687827"/>
                    <a:pt x="179676" y="687762"/>
                    <a:pt x="177818" y="688570"/>
                  </a:cubicBezTo>
                  <a:cubicBezTo>
                    <a:pt x="176735" y="689038"/>
                    <a:pt x="176025" y="689733"/>
                    <a:pt x="175718" y="690654"/>
                  </a:cubicBezTo>
                  <a:cubicBezTo>
                    <a:pt x="174958" y="692851"/>
                    <a:pt x="173424" y="694547"/>
                    <a:pt x="171275" y="695532"/>
                  </a:cubicBezTo>
                  <a:cubicBezTo>
                    <a:pt x="166058" y="697955"/>
                    <a:pt x="158982" y="695549"/>
                    <a:pt x="156947" y="694757"/>
                  </a:cubicBezTo>
                  <a:cubicBezTo>
                    <a:pt x="149354" y="691817"/>
                    <a:pt x="139888" y="688150"/>
                    <a:pt x="132344" y="681850"/>
                  </a:cubicBezTo>
                  <a:cubicBezTo>
                    <a:pt x="123927" y="674823"/>
                    <a:pt x="119259" y="665195"/>
                    <a:pt x="119857" y="656116"/>
                  </a:cubicBezTo>
                  <a:cubicBezTo>
                    <a:pt x="120163" y="651561"/>
                    <a:pt x="115608" y="647506"/>
                    <a:pt x="111166" y="646585"/>
                  </a:cubicBezTo>
                  <a:cubicBezTo>
                    <a:pt x="106820" y="645680"/>
                    <a:pt x="101780" y="646617"/>
                    <a:pt x="95318" y="649541"/>
                  </a:cubicBezTo>
                  <a:cubicBezTo>
                    <a:pt x="89099" y="652352"/>
                    <a:pt x="85416" y="655373"/>
                    <a:pt x="83720" y="659056"/>
                  </a:cubicBezTo>
                  <a:cubicBezTo>
                    <a:pt x="82702" y="661269"/>
                    <a:pt x="82702" y="664161"/>
                    <a:pt x="83720" y="666439"/>
                  </a:cubicBezTo>
                  <a:cubicBezTo>
                    <a:pt x="84220" y="667553"/>
                    <a:pt x="85206" y="669007"/>
                    <a:pt x="86967" y="669556"/>
                  </a:cubicBezTo>
                  <a:cubicBezTo>
                    <a:pt x="113298" y="677537"/>
                    <a:pt x="136301" y="694466"/>
                    <a:pt x="151745" y="717243"/>
                  </a:cubicBezTo>
                  <a:cubicBezTo>
                    <a:pt x="153005" y="719085"/>
                    <a:pt x="154330" y="721282"/>
                    <a:pt x="154330" y="723964"/>
                  </a:cubicBezTo>
                  <a:cubicBezTo>
                    <a:pt x="154330" y="726565"/>
                    <a:pt x="153150" y="728794"/>
                    <a:pt x="151050" y="730280"/>
                  </a:cubicBezTo>
                  <a:cubicBezTo>
                    <a:pt x="146963" y="733123"/>
                    <a:pt x="140259" y="732655"/>
                    <a:pt x="135736" y="731007"/>
                  </a:cubicBezTo>
                  <a:cubicBezTo>
                    <a:pt x="104785" y="719731"/>
                    <a:pt x="77452" y="700249"/>
                    <a:pt x="56694" y="674661"/>
                  </a:cubicBezTo>
                  <a:cubicBezTo>
                    <a:pt x="52542" y="669540"/>
                    <a:pt x="48455" y="663870"/>
                    <a:pt x="46759" y="657150"/>
                  </a:cubicBezTo>
                  <a:cubicBezTo>
                    <a:pt x="44788" y="649299"/>
                    <a:pt x="46856" y="641270"/>
                    <a:pt x="52025" y="636699"/>
                  </a:cubicBezTo>
                  <a:cubicBezTo>
                    <a:pt x="56710" y="632563"/>
                    <a:pt x="53430" y="624001"/>
                    <a:pt x="50749" y="619591"/>
                  </a:cubicBezTo>
                  <a:cubicBezTo>
                    <a:pt x="44319" y="609011"/>
                    <a:pt x="34902" y="600255"/>
                    <a:pt x="23933" y="594536"/>
                  </a:cubicBezTo>
                  <a:cubicBezTo>
                    <a:pt x="23674" y="601499"/>
                    <a:pt x="19280" y="607637"/>
                    <a:pt x="15016" y="613631"/>
                  </a:cubicBezTo>
                  <a:cubicBezTo>
                    <a:pt x="11106" y="619107"/>
                    <a:pt x="7084" y="624761"/>
                    <a:pt x="6583" y="630689"/>
                  </a:cubicBezTo>
                  <a:cubicBezTo>
                    <a:pt x="6389" y="633096"/>
                    <a:pt x="6761" y="635584"/>
                    <a:pt x="7165" y="638233"/>
                  </a:cubicBezTo>
                  <a:cubicBezTo>
                    <a:pt x="7666" y="641513"/>
                    <a:pt x="8166" y="644889"/>
                    <a:pt x="7617" y="648427"/>
                  </a:cubicBezTo>
                  <a:cubicBezTo>
                    <a:pt x="7019" y="652320"/>
                    <a:pt x="5242" y="655664"/>
                    <a:pt x="3530" y="658895"/>
                  </a:cubicBezTo>
                  <a:cubicBezTo>
                    <a:pt x="2722" y="660413"/>
                    <a:pt x="1963" y="661851"/>
                    <a:pt x="1333" y="663321"/>
                  </a:cubicBezTo>
                  <a:cubicBezTo>
                    <a:pt x="-315" y="667149"/>
                    <a:pt x="-767" y="672060"/>
                    <a:pt x="1915" y="674435"/>
                  </a:cubicBezTo>
                  <a:cubicBezTo>
                    <a:pt x="3789" y="676099"/>
                    <a:pt x="7019" y="676422"/>
                    <a:pt x="11526" y="675420"/>
                  </a:cubicBezTo>
                  <a:cubicBezTo>
                    <a:pt x="12205" y="675275"/>
                    <a:pt x="12867" y="675113"/>
                    <a:pt x="13546" y="674952"/>
                  </a:cubicBezTo>
                  <a:cubicBezTo>
                    <a:pt x="17164" y="674080"/>
                    <a:pt x="21267" y="673078"/>
                    <a:pt x="25403" y="674096"/>
                  </a:cubicBezTo>
                  <a:cubicBezTo>
                    <a:pt x="28731" y="674903"/>
                    <a:pt x="31719" y="677472"/>
                    <a:pt x="33044" y="680622"/>
                  </a:cubicBezTo>
                  <a:cubicBezTo>
                    <a:pt x="34110" y="683142"/>
                    <a:pt x="33981" y="685727"/>
                    <a:pt x="32688" y="687908"/>
                  </a:cubicBezTo>
                  <a:cubicBezTo>
                    <a:pt x="31364" y="690153"/>
                    <a:pt x="29231" y="691348"/>
                    <a:pt x="27341" y="692382"/>
                  </a:cubicBezTo>
                  <a:cubicBezTo>
                    <a:pt x="25839" y="693222"/>
                    <a:pt x="24547" y="693933"/>
                    <a:pt x="24207" y="694870"/>
                  </a:cubicBezTo>
                  <a:cubicBezTo>
                    <a:pt x="23868" y="695823"/>
                    <a:pt x="24450" y="697293"/>
                    <a:pt x="25064" y="698844"/>
                  </a:cubicBezTo>
                  <a:cubicBezTo>
                    <a:pt x="25371" y="699603"/>
                    <a:pt x="25661" y="700379"/>
                    <a:pt x="25904" y="701138"/>
                  </a:cubicBezTo>
                  <a:cubicBezTo>
                    <a:pt x="26760" y="703916"/>
                    <a:pt x="26130" y="707260"/>
                    <a:pt x="24385" y="709263"/>
                  </a:cubicBezTo>
                  <a:cubicBezTo>
                    <a:pt x="23109" y="710733"/>
                    <a:pt x="21300" y="711396"/>
                    <a:pt x="19442" y="711105"/>
                  </a:cubicBezTo>
                  <a:cubicBezTo>
                    <a:pt x="17439" y="710798"/>
                    <a:pt x="15193" y="711541"/>
                    <a:pt x="13433" y="713124"/>
                  </a:cubicBezTo>
                  <a:cubicBezTo>
                    <a:pt x="11672" y="714708"/>
                    <a:pt x="10703" y="716872"/>
                    <a:pt x="10816" y="718891"/>
                  </a:cubicBezTo>
                  <a:cubicBezTo>
                    <a:pt x="10929" y="720911"/>
                    <a:pt x="12156" y="722946"/>
                    <a:pt x="14095" y="724319"/>
                  </a:cubicBezTo>
                  <a:cubicBezTo>
                    <a:pt x="16017" y="725692"/>
                    <a:pt x="18343" y="726193"/>
                    <a:pt x="20298" y="725628"/>
                  </a:cubicBezTo>
                  <a:cubicBezTo>
                    <a:pt x="24967" y="724319"/>
                    <a:pt x="30071" y="726144"/>
                    <a:pt x="33609" y="730426"/>
                  </a:cubicBezTo>
                  <a:cubicBezTo>
                    <a:pt x="36953" y="734464"/>
                    <a:pt x="37971" y="739633"/>
                    <a:pt x="36339" y="743898"/>
                  </a:cubicBezTo>
                  <a:cubicBezTo>
                    <a:pt x="37163" y="746418"/>
                    <a:pt x="39425" y="748567"/>
                    <a:pt x="42429" y="749617"/>
                  </a:cubicBezTo>
                  <a:cubicBezTo>
                    <a:pt x="45757" y="750780"/>
                    <a:pt x="49198" y="750311"/>
                    <a:pt x="51411" y="748421"/>
                  </a:cubicBezTo>
                  <a:cubicBezTo>
                    <a:pt x="52768" y="747274"/>
                    <a:pt x="54125" y="745578"/>
                    <a:pt x="55434" y="743946"/>
                  </a:cubicBezTo>
                  <a:cubicBezTo>
                    <a:pt x="58794" y="739763"/>
                    <a:pt x="62978" y="734561"/>
                    <a:pt x="69245" y="736726"/>
                  </a:cubicBezTo>
                  <a:cubicBezTo>
                    <a:pt x="74447" y="738519"/>
                    <a:pt x="75691" y="743995"/>
                    <a:pt x="76692" y="748389"/>
                  </a:cubicBezTo>
                  <a:cubicBezTo>
                    <a:pt x="76838" y="749068"/>
                    <a:pt x="76999" y="749730"/>
                    <a:pt x="77161" y="750360"/>
                  </a:cubicBezTo>
                  <a:cubicBezTo>
                    <a:pt x="79406" y="759196"/>
                    <a:pt x="87968" y="766126"/>
                    <a:pt x="97063" y="766481"/>
                  </a:cubicBezTo>
                  <a:cubicBezTo>
                    <a:pt x="98388" y="766530"/>
                    <a:pt x="99502" y="767483"/>
                    <a:pt x="99793" y="768776"/>
                  </a:cubicBezTo>
                  <a:cubicBezTo>
                    <a:pt x="100068" y="770068"/>
                    <a:pt x="99438" y="771392"/>
                    <a:pt x="98242" y="771974"/>
                  </a:cubicBezTo>
                  <a:cubicBezTo>
                    <a:pt x="95011" y="773573"/>
                    <a:pt x="93541" y="778290"/>
                    <a:pt x="95157" y="781844"/>
                  </a:cubicBezTo>
                  <a:cubicBezTo>
                    <a:pt x="96772" y="785382"/>
                    <a:pt x="101053" y="787692"/>
                    <a:pt x="105350" y="787466"/>
                  </a:cubicBezTo>
                  <a:cubicBezTo>
                    <a:pt x="108484" y="787256"/>
                    <a:pt x="111553" y="785883"/>
                    <a:pt x="114800" y="784413"/>
                  </a:cubicBezTo>
                  <a:cubicBezTo>
                    <a:pt x="118596" y="782700"/>
                    <a:pt x="122538" y="780924"/>
                    <a:pt x="127013" y="780843"/>
                  </a:cubicBezTo>
                  <a:cubicBezTo>
                    <a:pt x="128677" y="780810"/>
                    <a:pt x="130260" y="781020"/>
                    <a:pt x="131794" y="781230"/>
                  </a:cubicBezTo>
                  <a:cubicBezTo>
                    <a:pt x="133620" y="781473"/>
                    <a:pt x="135348" y="781715"/>
                    <a:pt x="136915" y="781456"/>
                  </a:cubicBezTo>
                  <a:cubicBezTo>
                    <a:pt x="141955" y="780665"/>
                    <a:pt x="144879" y="775350"/>
                    <a:pt x="147965" y="769729"/>
                  </a:cubicBezTo>
                  <a:cubicBezTo>
                    <a:pt x="148934" y="767968"/>
                    <a:pt x="149936" y="766158"/>
                    <a:pt x="151002" y="764478"/>
                  </a:cubicBezTo>
                  <a:cubicBezTo>
                    <a:pt x="155202" y="757920"/>
                    <a:pt x="161341" y="753364"/>
                    <a:pt x="167867" y="751991"/>
                  </a:cubicBezTo>
                  <a:cubicBezTo>
                    <a:pt x="175734" y="750327"/>
                    <a:pt x="183924" y="753526"/>
                    <a:pt x="187801" y="759778"/>
                  </a:cubicBezTo>
                  <a:cubicBezTo>
                    <a:pt x="190305" y="763832"/>
                    <a:pt x="190887" y="768598"/>
                    <a:pt x="189449" y="773590"/>
                  </a:cubicBezTo>
                  <a:cubicBezTo>
                    <a:pt x="187462" y="780520"/>
                    <a:pt x="181662" y="787207"/>
                    <a:pt x="174684" y="790649"/>
                  </a:cubicBezTo>
                  <a:cubicBezTo>
                    <a:pt x="169062" y="793411"/>
                    <a:pt x="162988" y="794800"/>
                    <a:pt x="157124" y="796141"/>
                  </a:cubicBezTo>
                  <a:cubicBezTo>
                    <a:pt x="152133" y="797272"/>
                    <a:pt x="147416" y="798354"/>
                    <a:pt x="142941" y="800212"/>
                  </a:cubicBezTo>
                  <a:cubicBezTo>
                    <a:pt x="133701" y="804056"/>
                    <a:pt x="125930" y="813733"/>
                    <a:pt x="129113" y="821988"/>
                  </a:cubicBezTo>
                  <a:cubicBezTo>
                    <a:pt x="130421" y="825396"/>
                    <a:pt x="133313" y="828062"/>
                    <a:pt x="136382" y="830889"/>
                  </a:cubicBezTo>
                  <a:cubicBezTo>
                    <a:pt x="138111" y="832472"/>
                    <a:pt x="139888" y="834119"/>
                    <a:pt x="141455" y="835961"/>
                  </a:cubicBezTo>
                  <a:cubicBezTo>
                    <a:pt x="144896" y="839983"/>
                    <a:pt x="146608" y="845799"/>
                    <a:pt x="145719" y="850435"/>
                  </a:cubicBezTo>
                  <a:cubicBezTo>
                    <a:pt x="145106" y="853666"/>
                    <a:pt x="143329" y="856137"/>
                    <a:pt x="140599" y="857591"/>
                  </a:cubicBezTo>
                  <a:cubicBezTo>
                    <a:pt x="138402" y="858755"/>
                    <a:pt x="136027" y="858964"/>
                    <a:pt x="133927" y="859126"/>
                  </a:cubicBezTo>
                  <a:cubicBezTo>
                    <a:pt x="132004" y="859288"/>
                    <a:pt x="130341" y="859433"/>
                    <a:pt x="129226" y="860208"/>
                  </a:cubicBezTo>
                  <a:cubicBezTo>
                    <a:pt x="128127" y="860984"/>
                    <a:pt x="127966" y="862341"/>
                    <a:pt x="127966" y="863084"/>
                  </a:cubicBezTo>
                  <a:cubicBezTo>
                    <a:pt x="127966" y="864926"/>
                    <a:pt x="128887" y="866783"/>
                    <a:pt x="130260" y="867720"/>
                  </a:cubicBezTo>
                  <a:cubicBezTo>
                    <a:pt x="132925" y="869562"/>
                    <a:pt x="137061" y="869562"/>
                    <a:pt x="141293" y="867720"/>
                  </a:cubicBezTo>
                  <a:cubicBezTo>
                    <a:pt x="143749" y="866654"/>
                    <a:pt x="146042" y="865168"/>
                    <a:pt x="148466" y="863585"/>
                  </a:cubicBezTo>
                  <a:cubicBezTo>
                    <a:pt x="150065" y="862535"/>
                    <a:pt x="151729" y="861468"/>
                    <a:pt x="153473" y="860499"/>
                  </a:cubicBezTo>
                  <a:cubicBezTo>
                    <a:pt x="164264" y="854506"/>
                    <a:pt x="177624" y="853456"/>
                    <a:pt x="189223" y="857672"/>
                  </a:cubicBezTo>
                  <a:cubicBezTo>
                    <a:pt x="194020" y="859417"/>
                    <a:pt x="198285" y="863374"/>
                    <a:pt x="196961" y="868285"/>
                  </a:cubicBezTo>
                  <a:cubicBezTo>
                    <a:pt x="195814" y="872518"/>
                    <a:pt x="191193" y="873972"/>
                    <a:pt x="189207" y="874602"/>
                  </a:cubicBezTo>
                  <a:lnTo>
                    <a:pt x="136011" y="891273"/>
                  </a:lnTo>
                  <a:cubicBezTo>
                    <a:pt x="131746" y="892614"/>
                    <a:pt x="121924" y="896394"/>
                    <a:pt x="122732" y="902678"/>
                  </a:cubicBezTo>
                  <a:cubicBezTo>
                    <a:pt x="122910" y="904067"/>
                    <a:pt x="123653" y="905521"/>
                    <a:pt x="124444" y="907055"/>
                  </a:cubicBezTo>
                  <a:cubicBezTo>
                    <a:pt x="125446" y="909026"/>
                    <a:pt x="126593" y="911272"/>
                    <a:pt x="126787" y="913889"/>
                  </a:cubicBezTo>
                  <a:cubicBezTo>
                    <a:pt x="126884" y="915310"/>
                    <a:pt x="126738" y="916699"/>
                    <a:pt x="126577" y="918040"/>
                  </a:cubicBezTo>
                  <a:cubicBezTo>
                    <a:pt x="126334" y="920189"/>
                    <a:pt x="126205" y="921643"/>
                    <a:pt x="126819" y="922127"/>
                  </a:cubicBezTo>
                  <a:cubicBezTo>
                    <a:pt x="127417" y="922596"/>
                    <a:pt x="128967" y="922305"/>
                    <a:pt x="130470" y="922014"/>
                  </a:cubicBezTo>
                  <a:cubicBezTo>
                    <a:pt x="131181" y="921869"/>
                    <a:pt x="131891" y="921740"/>
                    <a:pt x="132586" y="921659"/>
                  </a:cubicBezTo>
                  <a:cubicBezTo>
                    <a:pt x="133087" y="921594"/>
                    <a:pt x="133588" y="921562"/>
                    <a:pt x="134104" y="921562"/>
                  </a:cubicBezTo>
                  <a:cubicBezTo>
                    <a:pt x="138046" y="921562"/>
                    <a:pt x="142392" y="923339"/>
                    <a:pt x="145364" y="926231"/>
                  </a:cubicBezTo>
                  <a:cubicBezTo>
                    <a:pt x="147965" y="928783"/>
                    <a:pt x="149225" y="931901"/>
                    <a:pt x="148918" y="935002"/>
                  </a:cubicBezTo>
                  <a:cubicBezTo>
                    <a:pt x="148062" y="943386"/>
                    <a:pt x="146996" y="953838"/>
                    <a:pt x="151115" y="962077"/>
                  </a:cubicBezTo>
                  <a:cubicBezTo>
                    <a:pt x="153263" y="966374"/>
                    <a:pt x="157641" y="969928"/>
                    <a:pt x="162261" y="971156"/>
                  </a:cubicBezTo>
                  <a:cubicBezTo>
                    <a:pt x="164571" y="971769"/>
                    <a:pt x="167980" y="972060"/>
                    <a:pt x="171065" y="969992"/>
                  </a:cubicBezTo>
                  <a:cubicBezTo>
                    <a:pt x="172939" y="968732"/>
                    <a:pt x="174458" y="966810"/>
                    <a:pt x="176041" y="964791"/>
                  </a:cubicBezTo>
                  <a:cubicBezTo>
                    <a:pt x="177107" y="963434"/>
                    <a:pt x="178222" y="962012"/>
                    <a:pt x="179498" y="960720"/>
                  </a:cubicBezTo>
                  <a:cubicBezTo>
                    <a:pt x="186929" y="953224"/>
                    <a:pt x="199432" y="951851"/>
                    <a:pt x="208608" y="956794"/>
                  </a:cubicBezTo>
                  <a:cubicBezTo>
                    <a:pt x="209674" y="952723"/>
                    <a:pt x="212113" y="949137"/>
                    <a:pt x="214488" y="945632"/>
                  </a:cubicBezTo>
                  <a:cubicBezTo>
                    <a:pt x="216879" y="942110"/>
                    <a:pt x="219124" y="938799"/>
                    <a:pt x="219916" y="935196"/>
                  </a:cubicBezTo>
                  <a:cubicBezTo>
                    <a:pt x="220416" y="932902"/>
                    <a:pt x="220320" y="930431"/>
                    <a:pt x="220223" y="927814"/>
                  </a:cubicBezTo>
                  <a:cubicBezTo>
                    <a:pt x="220174" y="926651"/>
                    <a:pt x="220142" y="925488"/>
                    <a:pt x="220142" y="924325"/>
                  </a:cubicBezTo>
                  <a:cubicBezTo>
                    <a:pt x="220206" y="910658"/>
                    <a:pt x="227007" y="897896"/>
                    <a:pt x="232484" y="887654"/>
                  </a:cubicBezTo>
                  <a:cubicBezTo>
                    <a:pt x="234051" y="884714"/>
                    <a:pt x="239785" y="874957"/>
                    <a:pt x="247814" y="872518"/>
                  </a:cubicBezTo>
                  <a:cubicBezTo>
                    <a:pt x="250948" y="871565"/>
                    <a:pt x="254098" y="871872"/>
                    <a:pt x="256941" y="873390"/>
                  </a:cubicBezTo>
                  <a:cubicBezTo>
                    <a:pt x="258217" y="874069"/>
                    <a:pt x="258799" y="875603"/>
                    <a:pt x="258298" y="876960"/>
                  </a:cubicBezTo>
                  <a:cubicBezTo>
                    <a:pt x="257490" y="879109"/>
                    <a:pt x="259090" y="881338"/>
                    <a:pt x="261012" y="882582"/>
                  </a:cubicBezTo>
                  <a:cubicBezTo>
                    <a:pt x="262934" y="883826"/>
                    <a:pt x="265616" y="884359"/>
                    <a:pt x="267247" y="882744"/>
                  </a:cubicBezTo>
                  <a:cubicBezTo>
                    <a:pt x="268298" y="881710"/>
                    <a:pt x="269121" y="880110"/>
                    <a:pt x="270010" y="878430"/>
                  </a:cubicBezTo>
                  <a:cubicBezTo>
                    <a:pt x="271706" y="875183"/>
                    <a:pt x="273838" y="871128"/>
                    <a:pt x="278539" y="870628"/>
                  </a:cubicBezTo>
                  <a:cubicBezTo>
                    <a:pt x="280914" y="870369"/>
                    <a:pt x="282917" y="871209"/>
                    <a:pt x="284694" y="871952"/>
                  </a:cubicBezTo>
                  <a:cubicBezTo>
                    <a:pt x="285211" y="872163"/>
                    <a:pt x="285712" y="872389"/>
                    <a:pt x="286229" y="872566"/>
                  </a:cubicBezTo>
                  <a:cubicBezTo>
                    <a:pt x="293030" y="874909"/>
                    <a:pt x="300864" y="870143"/>
                    <a:pt x="309523" y="858415"/>
                  </a:cubicBezTo>
                  <a:cubicBezTo>
                    <a:pt x="312932" y="853795"/>
                    <a:pt x="314773" y="848771"/>
                    <a:pt x="314224" y="845637"/>
                  </a:cubicBezTo>
                  <a:cubicBezTo>
                    <a:pt x="314014" y="844393"/>
                    <a:pt x="313432" y="843489"/>
                    <a:pt x="312415" y="842794"/>
                  </a:cubicBezTo>
                  <a:cubicBezTo>
                    <a:pt x="311284" y="842035"/>
                    <a:pt x="309604" y="841679"/>
                    <a:pt x="307827" y="841308"/>
                  </a:cubicBezTo>
                  <a:cubicBezTo>
                    <a:pt x="304709" y="840646"/>
                    <a:pt x="300816" y="839822"/>
                    <a:pt x="298942" y="836090"/>
                  </a:cubicBezTo>
                  <a:cubicBezTo>
                    <a:pt x="297811" y="833829"/>
                    <a:pt x="297876" y="831341"/>
                    <a:pt x="299104" y="829079"/>
                  </a:cubicBezTo>
                  <a:cubicBezTo>
                    <a:pt x="301301" y="825040"/>
                    <a:pt x="306421" y="822763"/>
                    <a:pt x="310234" y="822343"/>
                  </a:cubicBezTo>
                  <a:cubicBezTo>
                    <a:pt x="310912" y="822262"/>
                    <a:pt x="311623" y="822197"/>
                    <a:pt x="312334" y="822133"/>
                  </a:cubicBezTo>
                  <a:cubicBezTo>
                    <a:pt x="316372" y="821762"/>
                    <a:pt x="320540" y="821390"/>
                    <a:pt x="321946" y="818805"/>
                  </a:cubicBezTo>
                  <a:cubicBezTo>
                    <a:pt x="322204" y="818320"/>
                    <a:pt x="322446" y="817642"/>
                    <a:pt x="322673" y="816947"/>
                  </a:cubicBezTo>
                  <a:cubicBezTo>
                    <a:pt x="323319" y="815057"/>
                    <a:pt x="324207" y="812473"/>
                    <a:pt x="326857" y="811245"/>
                  </a:cubicBezTo>
                  <a:cubicBezTo>
                    <a:pt x="329732" y="809937"/>
                    <a:pt x="332624" y="811229"/>
                    <a:pt x="334174" y="811907"/>
                  </a:cubicBezTo>
                  <a:cubicBezTo>
                    <a:pt x="345854" y="817093"/>
                    <a:pt x="358083" y="824055"/>
                    <a:pt x="360247" y="836397"/>
                  </a:cubicBezTo>
                  <a:cubicBezTo>
                    <a:pt x="360700" y="838949"/>
                    <a:pt x="360700" y="841599"/>
                    <a:pt x="360700" y="844151"/>
                  </a:cubicBezTo>
                  <a:cubicBezTo>
                    <a:pt x="360700" y="847527"/>
                    <a:pt x="360700" y="850597"/>
                    <a:pt x="361653" y="852890"/>
                  </a:cubicBezTo>
                  <a:cubicBezTo>
                    <a:pt x="367565" y="846607"/>
                    <a:pt x="376078" y="842859"/>
                    <a:pt x="384753" y="843004"/>
                  </a:cubicBezTo>
                  <a:cubicBezTo>
                    <a:pt x="385771" y="843004"/>
                    <a:pt x="386708" y="843554"/>
                    <a:pt x="387209" y="844442"/>
                  </a:cubicBezTo>
                  <a:cubicBezTo>
                    <a:pt x="387726" y="845314"/>
                    <a:pt x="387742" y="846397"/>
                    <a:pt x="387257" y="847285"/>
                  </a:cubicBezTo>
                  <a:lnTo>
                    <a:pt x="383154" y="854910"/>
                  </a:lnTo>
                  <a:cubicBezTo>
                    <a:pt x="389341" y="857882"/>
                    <a:pt x="393961" y="863439"/>
                    <a:pt x="397483" y="867672"/>
                  </a:cubicBezTo>
                  <a:cubicBezTo>
                    <a:pt x="402394" y="873568"/>
                    <a:pt x="406594" y="878204"/>
                    <a:pt x="412248" y="879932"/>
                  </a:cubicBezTo>
                  <a:cubicBezTo>
                    <a:pt x="415349" y="880870"/>
                    <a:pt x="419113" y="880336"/>
                    <a:pt x="421827" y="878560"/>
                  </a:cubicBezTo>
                  <a:cubicBezTo>
                    <a:pt x="423119" y="877720"/>
                    <a:pt x="424719" y="876217"/>
                    <a:pt x="424993" y="873875"/>
                  </a:cubicBezTo>
                  <a:cubicBezTo>
                    <a:pt x="425478" y="869788"/>
                    <a:pt x="422021" y="866089"/>
                    <a:pt x="418354" y="862163"/>
                  </a:cubicBezTo>
                  <a:cubicBezTo>
                    <a:pt x="414073" y="857575"/>
                    <a:pt x="409243" y="852390"/>
                    <a:pt x="410374" y="845492"/>
                  </a:cubicBezTo>
                  <a:cubicBezTo>
                    <a:pt x="410939" y="842083"/>
                    <a:pt x="412942" y="839305"/>
                    <a:pt x="414542" y="837060"/>
                  </a:cubicBezTo>
                  <a:cubicBezTo>
                    <a:pt x="417724" y="832633"/>
                    <a:pt x="421391" y="828465"/>
                    <a:pt x="424945" y="824411"/>
                  </a:cubicBezTo>
                  <a:cubicBezTo>
                    <a:pt x="428402" y="820469"/>
                    <a:pt x="431988" y="816398"/>
                    <a:pt x="434993" y="812214"/>
                  </a:cubicBezTo>
                  <a:cubicBezTo>
                    <a:pt x="435687" y="811245"/>
                    <a:pt x="436915" y="810809"/>
                    <a:pt x="438062" y="811100"/>
                  </a:cubicBezTo>
                  <a:cubicBezTo>
                    <a:pt x="439225" y="811390"/>
                    <a:pt x="440081" y="812376"/>
                    <a:pt x="440227" y="813555"/>
                  </a:cubicBezTo>
                  <a:cubicBezTo>
                    <a:pt x="440792" y="818191"/>
                    <a:pt x="442844" y="829015"/>
                    <a:pt x="449532" y="829305"/>
                  </a:cubicBezTo>
                  <a:cubicBezTo>
                    <a:pt x="451260" y="829370"/>
                    <a:pt x="453166" y="828691"/>
                    <a:pt x="455186" y="827964"/>
                  </a:cubicBezTo>
                  <a:cubicBezTo>
                    <a:pt x="458287" y="826850"/>
                    <a:pt x="461825" y="825574"/>
                    <a:pt x="465573" y="826866"/>
                  </a:cubicBezTo>
                  <a:cubicBezTo>
                    <a:pt x="467382" y="827480"/>
                    <a:pt x="468804" y="828595"/>
                    <a:pt x="470047" y="829548"/>
                  </a:cubicBezTo>
                  <a:cubicBezTo>
                    <a:pt x="470936" y="830226"/>
                    <a:pt x="471760" y="830889"/>
                    <a:pt x="472584" y="831228"/>
                  </a:cubicBezTo>
                  <a:cubicBezTo>
                    <a:pt x="474926" y="832229"/>
                    <a:pt x="478076" y="831276"/>
                    <a:pt x="481113" y="830210"/>
                  </a:cubicBezTo>
                  <a:cubicBezTo>
                    <a:pt x="486961" y="828159"/>
                    <a:pt x="492082" y="826155"/>
                    <a:pt x="495765" y="822488"/>
                  </a:cubicBezTo>
                  <a:cubicBezTo>
                    <a:pt x="498963" y="819306"/>
                    <a:pt x="501128" y="813700"/>
                    <a:pt x="498850" y="809549"/>
                  </a:cubicBezTo>
                  <a:cubicBezTo>
                    <a:pt x="496702" y="805639"/>
                    <a:pt x="491500" y="804008"/>
                    <a:pt x="486460" y="802441"/>
                  </a:cubicBezTo>
                  <a:lnTo>
                    <a:pt x="485022" y="801988"/>
                  </a:lnTo>
                  <a:cubicBezTo>
                    <a:pt x="477091" y="799469"/>
                    <a:pt x="471566" y="796254"/>
                    <a:pt x="467640" y="791892"/>
                  </a:cubicBezTo>
                  <a:cubicBezTo>
                    <a:pt x="462342" y="785980"/>
                    <a:pt x="460630" y="777741"/>
                    <a:pt x="463392" y="771392"/>
                  </a:cubicBezTo>
                  <a:cubicBezTo>
                    <a:pt x="467560" y="761781"/>
                    <a:pt x="478593" y="759568"/>
                    <a:pt x="488124" y="759196"/>
                  </a:cubicBezTo>
                  <a:cubicBezTo>
                    <a:pt x="484618" y="750667"/>
                    <a:pt x="484505" y="740683"/>
                    <a:pt x="488011" y="732138"/>
                  </a:cubicBezTo>
                  <a:cubicBezTo>
                    <a:pt x="488883" y="730006"/>
                    <a:pt x="490402" y="727033"/>
                    <a:pt x="493552" y="725870"/>
                  </a:cubicBezTo>
                  <a:cubicBezTo>
                    <a:pt x="498866" y="723883"/>
                    <a:pt x="503163" y="728471"/>
                    <a:pt x="506023" y="731492"/>
                  </a:cubicBezTo>
                  <a:lnTo>
                    <a:pt x="506281" y="731766"/>
                  </a:lnTo>
                  <a:cubicBezTo>
                    <a:pt x="507654" y="733220"/>
                    <a:pt x="509738" y="734125"/>
                    <a:pt x="510869" y="733979"/>
                  </a:cubicBezTo>
                  <a:cubicBezTo>
                    <a:pt x="509544" y="725127"/>
                    <a:pt x="504940" y="716840"/>
                    <a:pt x="498075" y="711073"/>
                  </a:cubicBezTo>
                  <a:cubicBezTo>
                    <a:pt x="497316" y="710426"/>
                    <a:pt x="496508" y="709813"/>
                    <a:pt x="495716" y="709183"/>
                  </a:cubicBezTo>
                  <a:cubicBezTo>
                    <a:pt x="493261" y="707260"/>
                    <a:pt x="490709" y="705273"/>
                    <a:pt x="488802" y="702495"/>
                  </a:cubicBezTo>
                  <a:cubicBezTo>
                    <a:pt x="485943" y="698343"/>
                    <a:pt x="485119" y="691784"/>
                    <a:pt x="489206" y="687827"/>
                  </a:cubicBezTo>
                  <a:cubicBezTo>
                    <a:pt x="489820" y="687229"/>
                    <a:pt x="490660" y="686938"/>
                    <a:pt x="491533" y="687019"/>
                  </a:cubicBezTo>
                  <a:cubicBezTo>
                    <a:pt x="505780" y="688505"/>
                    <a:pt x="519657" y="695274"/>
                    <a:pt x="529592" y="705580"/>
                  </a:cubicBezTo>
                  <a:cubicBezTo>
                    <a:pt x="530190" y="706194"/>
                    <a:pt x="530787" y="706840"/>
                    <a:pt x="531385" y="707486"/>
                  </a:cubicBezTo>
                  <a:cubicBezTo>
                    <a:pt x="534115" y="710426"/>
                    <a:pt x="536700" y="713221"/>
                    <a:pt x="539979" y="714336"/>
                  </a:cubicBezTo>
                  <a:cubicBezTo>
                    <a:pt x="544421" y="715838"/>
                    <a:pt x="549865" y="714271"/>
                    <a:pt x="557070" y="709377"/>
                  </a:cubicBezTo>
                  <a:cubicBezTo>
                    <a:pt x="570688" y="700120"/>
                    <a:pt x="582723" y="687972"/>
                    <a:pt x="591834" y="674257"/>
                  </a:cubicBezTo>
                  <a:lnTo>
                    <a:pt x="592448" y="673336"/>
                  </a:lnTo>
                  <a:cubicBezTo>
                    <a:pt x="594839" y="669718"/>
                    <a:pt x="597536" y="665615"/>
                    <a:pt x="601753" y="663143"/>
                  </a:cubicBezTo>
                  <a:cubicBezTo>
                    <a:pt x="604773" y="661382"/>
                    <a:pt x="608553" y="660833"/>
                    <a:pt x="611849" y="661706"/>
                  </a:cubicBezTo>
                  <a:cubicBezTo>
                    <a:pt x="614531" y="662400"/>
                    <a:pt x="616615" y="663951"/>
                    <a:pt x="617907" y="666148"/>
                  </a:cubicBezTo>
                  <a:cubicBezTo>
                    <a:pt x="618521" y="667214"/>
                    <a:pt x="618908" y="668345"/>
                    <a:pt x="619264" y="669363"/>
                  </a:cubicBezTo>
                  <a:cubicBezTo>
                    <a:pt x="619652" y="670509"/>
                    <a:pt x="620071" y="671705"/>
                    <a:pt x="620572" y="671947"/>
                  </a:cubicBezTo>
                  <a:cubicBezTo>
                    <a:pt x="621138" y="672206"/>
                    <a:pt x="622592" y="671737"/>
                    <a:pt x="623076" y="671576"/>
                  </a:cubicBezTo>
                  <a:cubicBezTo>
                    <a:pt x="634562" y="667876"/>
                    <a:pt x="643802" y="660688"/>
                    <a:pt x="648406" y="651867"/>
                  </a:cubicBezTo>
                  <a:cubicBezTo>
                    <a:pt x="652154" y="644679"/>
                    <a:pt x="653172" y="636101"/>
                    <a:pt x="654141" y="627814"/>
                  </a:cubicBezTo>
                  <a:cubicBezTo>
                    <a:pt x="654302" y="626408"/>
                    <a:pt x="654464" y="625003"/>
                    <a:pt x="654641" y="623598"/>
                  </a:cubicBezTo>
                  <a:cubicBezTo>
                    <a:pt x="655934" y="613421"/>
                    <a:pt x="658325" y="600336"/>
                    <a:pt x="665416" y="589432"/>
                  </a:cubicBezTo>
                  <a:cubicBezTo>
                    <a:pt x="672928" y="577881"/>
                    <a:pt x="684834" y="570903"/>
                    <a:pt x="696642" y="571161"/>
                  </a:cubicBezTo>
                  <a:cubicBezTo>
                    <a:pt x="705220" y="571371"/>
                    <a:pt x="714525" y="576831"/>
                    <a:pt x="715268" y="585635"/>
                  </a:cubicBezTo>
                  <a:cubicBezTo>
                    <a:pt x="715397" y="587154"/>
                    <a:pt x="714331" y="588511"/>
                    <a:pt x="712829" y="588753"/>
                  </a:cubicBezTo>
                  <a:cubicBezTo>
                    <a:pt x="707143" y="589674"/>
                    <a:pt x="700681" y="590708"/>
                    <a:pt x="696093" y="594326"/>
                  </a:cubicBezTo>
                  <a:cubicBezTo>
                    <a:pt x="693815" y="596119"/>
                    <a:pt x="691053" y="599528"/>
                    <a:pt x="693169" y="608235"/>
                  </a:cubicBezTo>
                  <a:cubicBezTo>
                    <a:pt x="693751" y="609834"/>
                    <a:pt x="694332" y="611127"/>
                    <a:pt x="694882" y="612371"/>
                  </a:cubicBezTo>
                  <a:cubicBezTo>
                    <a:pt x="696012" y="614907"/>
                    <a:pt x="697079" y="617298"/>
                    <a:pt x="697741" y="621174"/>
                  </a:cubicBezTo>
                  <a:cubicBezTo>
                    <a:pt x="698274" y="624244"/>
                    <a:pt x="700342" y="627652"/>
                    <a:pt x="702167" y="628460"/>
                  </a:cubicBezTo>
                  <a:cubicBezTo>
                    <a:pt x="702684" y="628686"/>
                    <a:pt x="703023" y="628654"/>
                    <a:pt x="703508" y="628347"/>
                  </a:cubicBezTo>
                  <a:cubicBezTo>
                    <a:pt x="704526" y="627685"/>
                    <a:pt x="705463" y="625811"/>
                    <a:pt x="706286" y="624163"/>
                  </a:cubicBezTo>
                  <a:cubicBezTo>
                    <a:pt x="707660" y="621401"/>
                    <a:pt x="710212" y="616264"/>
                    <a:pt x="715333" y="618477"/>
                  </a:cubicBezTo>
                  <a:cubicBezTo>
                    <a:pt x="717384" y="619365"/>
                    <a:pt x="718370" y="621174"/>
                    <a:pt x="719081" y="622499"/>
                  </a:cubicBezTo>
                  <a:cubicBezTo>
                    <a:pt x="719388" y="623081"/>
                    <a:pt x="719824" y="623872"/>
                    <a:pt x="720082" y="624018"/>
                  </a:cubicBezTo>
                  <a:cubicBezTo>
                    <a:pt x="720567" y="624276"/>
                    <a:pt x="722392" y="622838"/>
                    <a:pt x="723281" y="622144"/>
                  </a:cubicBezTo>
                  <a:cubicBezTo>
                    <a:pt x="723959" y="621611"/>
                    <a:pt x="724622" y="621094"/>
                    <a:pt x="725284" y="620658"/>
                  </a:cubicBezTo>
                  <a:cubicBezTo>
                    <a:pt x="728757" y="618364"/>
                    <a:pt x="733151" y="618170"/>
                    <a:pt x="737335" y="620125"/>
                  </a:cubicBezTo>
                  <a:cubicBezTo>
                    <a:pt x="742536" y="622564"/>
                    <a:pt x="746430" y="627830"/>
                    <a:pt x="747044" y="633242"/>
                  </a:cubicBezTo>
                  <a:cubicBezTo>
                    <a:pt x="747884" y="640705"/>
                    <a:pt x="744588" y="648491"/>
                    <a:pt x="736996" y="657053"/>
                  </a:cubicBezTo>
                  <a:lnTo>
                    <a:pt x="736543" y="657554"/>
                  </a:lnTo>
                  <a:cubicBezTo>
                    <a:pt x="734653" y="659686"/>
                    <a:pt x="732860" y="661689"/>
                    <a:pt x="732279" y="663967"/>
                  </a:cubicBezTo>
                  <a:cubicBezTo>
                    <a:pt x="731907" y="665437"/>
                    <a:pt x="732020" y="667149"/>
                    <a:pt x="732149" y="668943"/>
                  </a:cubicBezTo>
                  <a:cubicBezTo>
                    <a:pt x="732182" y="669524"/>
                    <a:pt x="732230" y="670106"/>
                    <a:pt x="732262" y="670687"/>
                  </a:cubicBezTo>
                  <a:cubicBezTo>
                    <a:pt x="732666" y="679733"/>
                    <a:pt x="729258" y="687730"/>
                    <a:pt x="723168" y="692076"/>
                  </a:cubicBezTo>
                  <a:cubicBezTo>
                    <a:pt x="719355" y="694789"/>
                    <a:pt x="714251" y="695774"/>
                    <a:pt x="709517" y="694676"/>
                  </a:cubicBezTo>
                  <a:cubicBezTo>
                    <a:pt x="705414" y="693739"/>
                    <a:pt x="702135" y="691364"/>
                    <a:pt x="700293" y="688021"/>
                  </a:cubicBezTo>
                  <a:cubicBezTo>
                    <a:pt x="698710" y="685145"/>
                    <a:pt x="698371" y="682092"/>
                    <a:pt x="698032" y="679136"/>
                  </a:cubicBezTo>
                  <a:cubicBezTo>
                    <a:pt x="697838" y="677407"/>
                    <a:pt x="697644" y="675760"/>
                    <a:pt x="697224" y="674273"/>
                  </a:cubicBezTo>
                  <a:cubicBezTo>
                    <a:pt x="696287" y="670978"/>
                    <a:pt x="693864" y="668135"/>
                    <a:pt x="690439" y="666277"/>
                  </a:cubicBezTo>
                  <a:cubicBezTo>
                    <a:pt x="686627" y="664209"/>
                    <a:pt x="682055" y="663676"/>
                    <a:pt x="678211" y="664856"/>
                  </a:cubicBezTo>
                  <a:cubicBezTo>
                    <a:pt x="670747" y="667149"/>
                    <a:pt x="665077" y="675049"/>
                    <a:pt x="664738" y="683659"/>
                  </a:cubicBezTo>
                  <a:cubicBezTo>
                    <a:pt x="664415" y="691639"/>
                    <a:pt x="668308" y="700088"/>
                    <a:pt x="675141" y="706259"/>
                  </a:cubicBezTo>
                  <a:cubicBezTo>
                    <a:pt x="675545" y="706630"/>
                    <a:pt x="675965" y="706986"/>
                    <a:pt x="676385" y="707357"/>
                  </a:cubicBezTo>
                  <a:cubicBezTo>
                    <a:pt x="679567" y="710136"/>
                    <a:pt x="683186" y="713302"/>
                    <a:pt x="683687" y="718164"/>
                  </a:cubicBezTo>
                  <a:cubicBezTo>
                    <a:pt x="684430" y="725337"/>
                    <a:pt x="677645" y="730635"/>
                    <a:pt x="671038" y="732510"/>
                  </a:cubicBezTo>
                  <a:cubicBezTo>
                    <a:pt x="669600" y="732913"/>
                    <a:pt x="668098" y="733253"/>
                    <a:pt x="666612" y="733576"/>
                  </a:cubicBezTo>
                  <a:cubicBezTo>
                    <a:pt x="662735" y="734432"/>
                    <a:pt x="659068" y="735240"/>
                    <a:pt x="656499" y="737485"/>
                  </a:cubicBezTo>
                  <a:cubicBezTo>
                    <a:pt x="655094" y="738713"/>
                    <a:pt x="653995" y="740393"/>
                    <a:pt x="652832" y="742186"/>
                  </a:cubicBezTo>
                  <a:cubicBezTo>
                    <a:pt x="651911" y="743607"/>
                    <a:pt x="650942" y="745077"/>
                    <a:pt x="649747" y="746450"/>
                  </a:cubicBezTo>
                  <a:cubicBezTo>
                    <a:pt x="646306" y="750408"/>
                    <a:pt x="640183" y="752864"/>
                    <a:pt x="635612" y="749584"/>
                  </a:cubicBezTo>
                  <a:cubicBezTo>
                    <a:pt x="629586" y="745271"/>
                    <a:pt x="632866" y="738050"/>
                    <a:pt x="635273" y="732800"/>
                  </a:cubicBezTo>
                  <a:cubicBezTo>
                    <a:pt x="636080" y="731039"/>
                    <a:pt x="636840" y="729391"/>
                    <a:pt x="637308" y="727873"/>
                  </a:cubicBezTo>
                  <a:cubicBezTo>
                    <a:pt x="638487" y="724174"/>
                    <a:pt x="637680" y="719796"/>
                    <a:pt x="636969" y="715935"/>
                  </a:cubicBezTo>
                  <a:cubicBezTo>
                    <a:pt x="636420" y="712995"/>
                    <a:pt x="634853" y="708133"/>
                    <a:pt x="632236" y="708310"/>
                  </a:cubicBezTo>
                  <a:cubicBezTo>
                    <a:pt x="631266" y="708391"/>
                    <a:pt x="630152" y="709247"/>
                    <a:pt x="629005" y="710168"/>
                  </a:cubicBezTo>
                  <a:cubicBezTo>
                    <a:pt x="624013" y="714191"/>
                    <a:pt x="618424" y="719004"/>
                    <a:pt x="615274" y="725175"/>
                  </a:cubicBezTo>
                  <a:cubicBezTo>
                    <a:pt x="612124" y="731346"/>
                    <a:pt x="612156" y="738276"/>
                    <a:pt x="615354" y="742832"/>
                  </a:cubicBezTo>
                  <a:cubicBezTo>
                    <a:pt x="616017" y="743769"/>
                    <a:pt x="616065" y="745013"/>
                    <a:pt x="615468" y="745998"/>
                  </a:cubicBezTo>
                  <a:cubicBezTo>
                    <a:pt x="614870" y="746984"/>
                    <a:pt x="613755" y="747516"/>
                    <a:pt x="612608" y="747371"/>
                  </a:cubicBezTo>
                  <a:cubicBezTo>
                    <a:pt x="609248" y="746935"/>
                    <a:pt x="605452" y="746434"/>
                    <a:pt x="602286" y="747468"/>
                  </a:cubicBezTo>
                  <a:cubicBezTo>
                    <a:pt x="599830" y="748276"/>
                    <a:pt x="597407" y="750570"/>
                    <a:pt x="597633" y="753025"/>
                  </a:cubicBezTo>
                  <a:cubicBezTo>
                    <a:pt x="597698" y="753720"/>
                    <a:pt x="597973" y="754528"/>
                    <a:pt x="598263" y="755384"/>
                  </a:cubicBezTo>
                  <a:cubicBezTo>
                    <a:pt x="598538" y="756175"/>
                    <a:pt x="598796" y="756983"/>
                    <a:pt x="598974" y="757791"/>
                  </a:cubicBezTo>
                  <a:cubicBezTo>
                    <a:pt x="600089" y="762895"/>
                    <a:pt x="597892" y="767806"/>
                    <a:pt x="595953" y="772152"/>
                  </a:cubicBezTo>
                  <a:cubicBezTo>
                    <a:pt x="593676" y="777257"/>
                    <a:pt x="592399" y="780568"/>
                    <a:pt x="594047" y="783395"/>
                  </a:cubicBezTo>
                  <a:cubicBezTo>
                    <a:pt x="595921" y="786642"/>
                    <a:pt x="599895" y="786707"/>
                    <a:pt x="606227" y="786545"/>
                  </a:cubicBezTo>
                  <a:cubicBezTo>
                    <a:pt x="610331" y="786448"/>
                    <a:pt x="614563" y="786335"/>
                    <a:pt x="618440" y="787676"/>
                  </a:cubicBezTo>
                  <a:cubicBezTo>
                    <a:pt x="620685" y="788451"/>
                    <a:pt x="622575" y="789663"/>
                    <a:pt x="624417" y="790826"/>
                  </a:cubicBezTo>
                  <a:cubicBezTo>
                    <a:pt x="625774" y="791682"/>
                    <a:pt x="627066" y="792506"/>
                    <a:pt x="628391" y="793088"/>
                  </a:cubicBezTo>
                  <a:cubicBezTo>
                    <a:pt x="630620" y="794057"/>
                    <a:pt x="633738" y="794008"/>
                    <a:pt x="634643" y="792377"/>
                  </a:cubicBezTo>
                  <a:cubicBezTo>
                    <a:pt x="635434" y="790955"/>
                    <a:pt x="634546" y="789097"/>
                    <a:pt x="633043" y="786174"/>
                  </a:cubicBezTo>
                  <a:cubicBezTo>
                    <a:pt x="631670" y="783524"/>
                    <a:pt x="630119" y="780520"/>
                    <a:pt x="630329" y="777143"/>
                  </a:cubicBezTo>
                  <a:cubicBezTo>
                    <a:pt x="630798" y="769971"/>
                    <a:pt x="638810" y="766110"/>
                    <a:pt x="646322" y="766481"/>
                  </a:cubicBezTo>
                  <a:cubicBezTo>
                    <a:pt x="647937" y="766562"/>
                    <a:pt x="649553" y="766756"/>
                    <a:pt x="651104" y="766950"/>
                  </a:cubicBezTo>
                  <a:cubicBezTo>
                    <a:pt x="654981" y="767419"/>
                    <a:pt x="658648" y="767871"/>
                    <a:pt x="661685" y="766546"/>
                  </a:cubicBezTo>
                  <a:cubicBezTo>
                    <a:pt x="663801" y="765626"/>
                    <a:pt x="665610" y="763832"/>
                    <a:pt x="667500" y="761926"/>
                  </a:cubicBezTo>
                  <a:cubicBezTo>
                    <a:pt x="668647" y="760779"/>
                    <a:pt x="669826" y="759600"/>
                    <a:pt x="671167" y="758518"/>
                  </a:cubicBezTo>
                  <a:cubicBezTo>
                    <a:pt x="675803" y="754786"/>
                    <a:pt x="682960" y="753332"/>
                    <a:pt x="687111" y="757968"/>
                  </a:cubicBezTo>
                  <a:cubicBezTo>
                    <a:pt x="688775" y="759826"/>
                    <a:pt x="689357" y="762088"/>
                    <a:pt x="689874" y="764075"/>
                  </a:cubicBezTo>
                  <a:cubicBezTo>
                    <a:pt x="693525" y="778209"/>
                    <a:pt x="700245" y="791521"/>
                    <a:pt x="709372" y="802748"/>
                  </a:cubicBezTo>
                  <a:cubicBezTo>
                    <a:pt x="712700" y="806835"/>
                    <a:pt x="716367" y="810696"/>
                    <a:pt x="720292" y="814217"/>
                  </a:cubicBezTo>
                  <a:cubicBezTo>
                    <a:pt x="723426" y="817028"/>
                    <a:pt x="728143" y="821261"/>
                    <a:pt x="727368" y="827044"/>
                  </a:cubicBezTo>
                  <a:cubicBezTo>
                    <a:pt x="726932" y="830323"/>
                    <a:pt x="724880" y="832633"/>
                    <a:pt x="723071" y="834669"/>
                  </a:cubicBezTo>
                  <a:cubicBezTo>
                    <a:pt x="722247" y="835589"/>
                    <a:pt x="721471" y="836462"/>
                    <a:pt x="720906" y="837350"/>
                  </a:cubicBezTo>
                  <a:cubicBezTo>
                    <a:pt x="718111" y="841744"/>
                    <a:pt x="719888" y="847996"/>
                    <a:pt x="723087" y="851889"/>
                  </a:cubicBezTo>
                  <a:cubicBezTo>
                    <a:pt x="726867" y="856477"/>
                    <a:pt x="732763" y="859417"/>
                    <a:pt x="737965" y="862018"/>
                  </a:cubicBezTo>
                  <a:cubicBezTo>
                    <a:pt x="738692" y="862389"/>
                    <a:pt x="739241" y="863051"/>
                    <a:pt x="739467" y="863843"/>
                  </a:cubicBezTo>
                  <a:cubicBezTo>
                    <a:pt x="739693" y="864634"/>
                    <a:pt x="739564" y="865475"/>
                    <a:pt x="739128" y="866169"/>
                  </a:cubicBezTo>
                  <a:cubicBezTo>
                    <a:pt x="735671" y="871613"/>
                    <a:pt x="733539" y="877978"/>
                    <a:pt x="732989" y="884440"/>
                  </a:cubicBezTo>
                  <a:cubicBezTo>
                    <a:pt x="739273" y="882501"/>
                    <a:pt x="745783" y="880013"/>
                    <a:pt x="750371" y="875345"/>
                  </a:cubicBezTo>
                  <a:cubicBezTo>
                    <a:pt x="755169" y="870450"/>
                    <a:pt x="757269" y="861517"/>
                    <a:pt x="752617" y="856541"/>
                  </a:cubicBezTo>
                  <a:cubicBezTo>
                    <a:pt x="752261" y="856170"/>
                    <a:pt x="751874" y="855814"/>
                    <a:pt x="751486" y="855443"/>
                  </a:cubicBezTo>
                  <a:cubicBezTo>
                    <a:pt x="750258" y="854296"/>
                    <a:pt x="748869" y="853004"/>
                    <a:pt x="748077" y="851065"/>
                  </a:cubicBezTo>
                  <a:cubicBezTo>
                    <a:pt x="745606" y="845023"/>
                    <a:pt x="750840" y="839644"/>
                    <a:pt x="756558" y="836623"/>
                  </a:cubicBezTo>
                  <a:cubicBezTo>
                    <a:pt x="761372" y="834087"/>
                    <a:pt x="766396" y="831793"/>
                    <a:pt x="771259" y="829580"/>
                  </a:cubicBezTo>
                  <a:cubicBezTo>
                    <a:pt x="782696" y="824362"/>
                    <a:pt x="793503" y="819451"/>
                    <a:pt x="802275" y="811406"/>
                  </a:cubicBezTo>
                  <a:cubicBezTo>
                    <a:pt x="807024" y="807061"/>
                    <a:pt x="811224" y="800502"/>
                    <a:pt x="808801" y="795107"/>
                  </a:cubicBezTo>
                  <a:cubicBezTo>
                    <a:pt x="806394" y="789760"/>
                    <a:pt x="799787" y="789081"/>
                    <a:pt x="792130" y="788290"/>
                  </a:cubicBezTo>
                  <a:cubicBezTo>
                    <a:pt x="788108" y="787870"/>
                    <a:pt x="783940" y="787450"/>
                    <a:pt x="780176" y="786254"/>
                  </a:cubicBezTo>
                  <a:cubicBezTo>
                    <a:pt x="773908" y="784251"/>
                    <a:pt x="768836" y="779873"/>
                    <a:pt x="765104" y="776271"/>
                  </a:cubicBezTo>
                  <a:cubicBezTo>
                    <a:pt x="761695" y="772976"/>
                    <a:pt x="758028" y="768921"/>
                    <a:pt x="756704" y="763735"/>
                  </a:cubicBezTo>
                  <a:cubicBezTo>
                    <a:pt x="755315" y="758308"/>
                    <a:pt x="757301" y="751184"/>
                    <a:pt x="763020" y="748680"/>
                  </a:cubicBezTo>
                  <a:cubicBezTo>
                    <a:pt x="769433" y="745869"/>
                    <a:pt x="776606" y="749649"/>
                    <a:pt x="783229" y="759341"/>
                  </a:cubicBezTo>
                  <a:cubicBezTo>
                    <a:pt x="786686" y="764398"/>
                    <a:pt x="792195" y="769519"/>
                    <a:pt x="796298" y="767289"/>
                  </a:cubicBezTo>
                  <a:cubicBezTo>
                    <a:pt x="797219" y="766789"/>
                    <a:pt x="798091" y="765884"/>
                    <a:pt x="799012" y="764931"/>
                  </a:cubicBezTo>
                  <a:lnTo>
                    <a:pt x="799819" y="764107"/>
                  </a:lnTo>
                  <a:cubicBezTo>
                    <a:pt x="809496" y="754366"/>
                    <a:pt x="821886" y="750763"/>
                    <a:pt x="832532" y="754463"/>
                  </a:cubicBezTo>
                  <a:cubicBezTo>
                    <a:pt x="847022" y="744124"/>
                    <a:pt x="853064" y="734319"/>
                    <a:pt x="850463" y="725321"/>
                  </a:cubicBezTo>
                  <a:cubicBezTo>
                    <a:pt x="848395" y="718116"/>
                    <a:pt x="841400" y="713996"/>
                    <a:pt x="834002" y="709619"/>
                  </a:cubicBezTo>
                  <a:cubicBezTo>
                    <a:pt x="827362" y="705693"/>
                    <a:pt x="820497" y="701639"/>
                    <a:pt x="816394" y="694967"/>
                  </a:cubicBezTo>
                  <a:cubicBezTo>
                    <a:pt x="814730" y="692269"/>
                    <a:pt x="813647" y="689329"/>
                    <a:pt x="812597" y="686486"/>
                  </a:cubicBezTo>
                  <a:cubicBezTo>
                    <a:pt x="811143" y="682528"/>
                    <a:pt x="809770" y="678797"/>
                    <a:pt x="807056" y="676325"/>
                  </a:cubicBezTo>
                  <a:cubicBezTo>
                    <a:pt x="804197" y="673724"/>
                    <a:pt x="800126" y="672723"/>
                    <a:pt x="795813" y="671656"/>
                  </a:cubicBezTo>
                  <a:cubicBezTo>
                    <a:pt x="794101" y="671236"/>
                    <a:pt x="792324" y="670800"/>
                    <a:pt x="790595" y="670251"/>
                  </a:cubicBezTo>
                  <a:cubicBezTo>
                    <a:pt x="782922" y="667812"/>
                    <a:pt x="775992" y="661302"/>
                    <a:pt x="777607" y="653596"/>
                  </a:cubicBezTo>
                  <a:cubicBezTo>
                    <a:pt x="779029" y="646844"/>
                    <a:pt x="785765" y="643920"/>
                    <a:pt x="791193" y="641577"/>
                  </a:cubicBezTo>
                  <a:lnTo>
                    <a:pt x="791661" y="641383"/>
                  </a:lnTo>
                  <a:cubicBezTo>
                    <a:pt x="794133" y="640301"/>
                    <a:pt x="797752" y="638104"/>
                    <a:pt x="799060" y="635487"/>
                  </a:cubicBezTo>
                  <a:cubicBezTo>
                    <a:pt x="795054" y="636101"/>
                    <a:pt x="790757" y="636440"/>
                    <a:pt x="786508" y="635390"/>
                  </a:cubicBezTo>
                  <a:cubicBezTo>
                    <a:pt x="781016" y="634033"/>
                    <a:pt x="774893" y="629445"/>
                    <a:pt x="774425" y="622580"/>
                  </a:cubicBezTo>
                  <a:cubicBezTo>
                    <a:pt x="773795" y="613324"/>
                    <a:pt x="782518" y="608671"/>
                    <a:pt x="790208" y="604552"/>
                  </a:cubicBezTo>
                  <a:cubicBezTo>
                    <a:pt x="798333" y="600206"/>
                    <a:pt x="803228" y="597202"/>
                    <a:pt x="802630" y="592113"/>
                  </a:cubicBezTo>
                  <a:cubicBezTo>
                    <a:pt x="802081" y="587525"/>
                    <a:pt x="796734" y="584456"/>
                    <a:pt x="786282" y="582744"/>
                  </a:cubicBezTo>
                  <a:cubicBezTo>
                    <a:pt x="775911" y="581047"/>
                    <a:pt x="765992" y="575167"/>
                    <a:pt x="767204" y="565862"/>
                  </a:cubicBezTo>
                  <a:cubicBezTo>
                    <a:pt x="767382" y="564506"/>
                    <a:pt x="768480" y="563472"/>
                    <a:pt x="769837" y="563343"/>
                  </a:cubicBezTo>
                  <a:cubicBezTo>
                    <a:pt x="785200" y="562018"/>
                    <a:pt x="800562" y="563294"/>
                    <a:pt x="815521" y="567106"/>
                  </a:cubicBezTo>
                  <a:lnTo>
                    <a:pt x="816474" y="567349"/>
                  </a:lnTo>
                  <a:cubicBezTo>
                    <a:pt x="819544" y="568140"/>
                    <a:pt x="822435" y="568883"/>
                    <a:pt x="825198" y="568641"/>
                  </a:cubicBezTo>
                  <a:cubicBezTo>
                    <a:pt x="833259" y="567930"/>
                    <a:pt x="838638" y="559255"/>
                    <a:pt x="842854" y="550872"/>
                  </a:cubicBezTo>
                  <a:lnTo>
                    <a:pt x="852030" y="532601"/>
                  </a:lnTo>
                  <a:cubicBezTo>
                    <a:pt x="853871" y="528934"/>
                    <a:pt x="856165" y="524379"/>
                    <a:pt x="860236" y="521471"/>
                  </a:cubicBezTo>
                  <a:cubicBezTo>
                    <a:pt x="864630" y="518337"/>
                    <a:pt x="871560" y="517739"/>
                    <a:pt x="875566" y="522165"/>
                  </a:cubicBezTo>
                  <a:cubicBezTo>
                    <a:pt x="878393" y="525299"/>
                    <a:pt x="878490" y="529338"/>
                    <a:pt x="878571" y="532908"/>
                  </a:cubicBezTo>
                  <a:cubicBezTo>
                    <a:pt x="878587" y="533877"/>
                    <a:pt x="878620" y="534830"/>
                    <a:pt x="878700" y="535767"/>
                  </a:cubicBezTo>
                  <a:cubicBezTo>
                    <a:pt x="879670" y="546817"/>
                    <a:pt x="891107" y="554652"/>
                    <a:pt x="899620" y="559578"/>
                  </a:cubicBezTo>
                  <a:cubicBezTo>
                    <a:pt x="903336" y="561743"/>
                    <a:pt x="907600" y="565556"/>
                    <a:pt x="908408" y="569820"/>
                  </a:cubicBezTo>
                  <a:cubicBezTo>
                    <a:pt x="908828" y="572001"/>
                    <a:pt x="908311" y="574085"/>
                    <a:pt x="906922" y="575830"/>
                  </a:cubicBezTo>
                  <a:cubicBezTo>
                    <a:pt x="905985" y="576993"/>
                    <a:pt x="904870" y="577704"/>
                    <a:pt x="903869" y="578334"/>
                  </a:cubicBezTo>
                  <a:cubicBezTo>
                    <a:pt x="903287" y="578705"/>
                    <a:pt x="902738" y="579044"/>
                    <a:pt x="902382" y="579400"/>
                  </a:cubicBezTo>
                  <a:cubicBezTo>
                    <a:pt x="902172" y="579610"/>
                    <a:pt x="901526" y="580256"/>
                    <a:pt x="901672" y="581742"/>
                  </a:cubicBezTo>
                  <a:cubicBezTo>
                    <a:pt x="901865" y="583648"/>
                    <a:pt x="903222" y="585813"/>
                    <a:pt x="904983" y="587008"/>
                  </a:cubicBezTo>
                  <a:cubicBezTo>
                    <a:pt x="906776" y="588220"/>
                    <a:pt x="908925" y="589012"/>
                    <a:pt x="911203" y="589852"/>
                  </a:cubicBezTo>
                  <a:cubicBezTo>
                    <a:pt x="913383" y="590659"/>
                    <a:pt x="915645" y="591483"/>
                    <a:pt x="917794" y="592775"/>
                  </a:cubicBezTo>
                  <a:cubicBezTo>
                    <a:pt x="925951" y="597654"/>
                    <a:pt x="929861" y="608493"/>
                    <a:pt x="926678" y="617459"/>
                  </a:cubicBezTo>
                  <a:cubicBezTo>
                    <a:pt x="926404" y="618234"/>
                    <a:pt x="925806" y="618865"/>
                    <a:pt x="925047" y="619171"/>
                  </a:cubicBezTo>
                  <a:cubicBezTo>
                    <a:pt x="924287" y="619478"/>
                    <a:pt x="923431" y="619462"/>
                    <a:pt x="922688" y="619107"/>
                  </a:cubicBezTo>
                  <a:cubicBezTo>
                    <a:pt x="918020" y="616861"/>
                    <a:pt x="912333" y="616910"/>
                    <a:pt x="907649" y="619075"/>
                  </a:cubicBezTo>
                  <a:lnTo>
                    <a:pt x="930507" y="641206"/>
                  </a:lnTo>
                  <a:cubicBezTo>
                    <a:pt x="935046" y="645600"/>
                    <a:pt x="940183" y="650575"/>
                    <a:pt x="943204" y="656924"/>
                  </a:cubicBezTo>
                  <a:cubicBezTo>
                    <a:pt x="945999" y="662804"/>
                    <a:pt x="947243" y="671495"/>
                    <a:pt x="942332" y="678231"/>
                  </a:cubicBezTo>
                  <a:cubicBezTo>
                    <a:pt x="938390" y="683643"/>
                    <a:pt x="931896" y="685759"/>
                    <a:pt x="926161" y="687617"/>
                  </a:cubicBezTo>
                  <a:cubicBezTo>
                    <a:pt x="925063" y="687972"/>
                    <a:pt x="923981" y="688328"/>
                    <a:pt x="922914" y="688699"/>
                  </a:cubicBezTo>
                  <a:cubicBezTo>
                    <a:pt x="917309" y="690670"/>
                    <a:pt x="911380" y="694644"/>
                    <a:pt x="911574" y="699878"/>
                  </a:cubicBezTo>
                  <a:cubicBezTo>
                    <a:pt x="911639" y="701720"/>
                    <a:pt x="912495" y="703626"/>
                    <a:pt x="913383" y="705645"/>
                  </a:cubicBezTo>
                  <a:cubicBezTo>
                    <a:pt x="913803" y="706598"/>
                    <a:pt x="914223" y="707535"/>
                    <a:pt x="914579" y="708488"/>
                  </a:cubicBezTo>
                  <a:cubicBezTo>
                    <a:pt x="915984" y="712220"/>
                    <a:pt x="916469" y="716080"/>
                    <a:pt x="916937" y="719812"/>
                  </a:cubicBezTo>
                  <a:cubicBezTo>
                    <a:pt x="917357" y="723124"/>
                    <a:pt x="917745" y="726274"/>
                    <a:pt x="918747" y="729198"/>
                  </a:cubicBezTo>
                  <a:cubicBezTo>
                    <a:pt x="919910" y="732639"/>
                    <a:pt x="922817" y="735902"/>
                    <a:pt x="925806" y="737129"/>
                  </a:cubicBezTo>
                  <a:cubicBezTo>
                    <a:pt x="927551" y="737840"/>
                    <a:pt x="929150" y="737840"/>
                    <a:pt x="930588" y="737113"/>
                  </a:cubicBezTo>
                  <a:cubicBezTo>
                    <a:pt x="932041" y="736386"/>
                    <a:pt x="933285" y="734900"/>
                    <a:pt x="934594" y="733349"/>
                  </a:cubicBezTo>
                  <a:cubicBezTo>
                    <a:pt x="936193" y="731427"/>
                    <a:pt x="938019" y="729263"/>
                    <a:pt x="940684" y="728002"/>
                  </a:cubicBezTo>
                  <a:cubicBezTo>
                    <a:pt x="947178" y="724949"/>
                    <a:pt x="952994" y="728923"/>
                    <a:pt x="958114" y="732429"/>
                  </a:cubicBezTo>
                  <a:cubicBezTo>
                    <a:pt x="961474" y="734722"/>
                    <a:pt x="964931" y="737097"/>
                    <a:pt x="968308" y="737404"/>
                  </a:cubicBezTo>
                  <a:cubicBezTo>
                    <a:pt x="969422" y="737501"/>
                    <a:pt x="970456" y="737259"/>
                    <a:pt x="970779" y="736823"/>
                  </a:cubicBezTo>
                  <a:cubicBezTo>
                    <a:pt x="971086" y="736386"/>
                    <a:pt x="971151" y="735304"/>
                    <a:pt x="971167" y="734836"/>
                  </a:cubicBezTo>
                  <a:cubicBezTo>
                    <a:pt x="971765" y="724788"/>
                    <a:pt x="968065" y="714352"/>
                    <a:pt x="961281" y="706921"/>
                  </a:cubicBezTo>
                  <a:lnTo>
                    <a:pt x="960150" y="705693"/>
                  </a:lnTo>
                  <a:cubicBezTo>
                    <a:pt x="956321" y="701574"/>
                    <a:pt x="951556" y="696453"/>
                    <a:pt x="953220" y="690040"/>
                  </a:cubicBezTo>
                  <a:cubicBezTo>
                    <a:pt x="954221" y="686163"/>
                    <a:pt x="957630" y="681672"/>
                    <a:pt x="967872" y="680929"/>
                  </a:cubicBezTo>
                  <a:cubicBezTo>
                    <a:pt x="966676" y="674338"/>
                    <a:pt x="969503" y="667069"/>
                    <a:pt x="975270" y="663062"/>
                  </a:cubicBezTo>
                  <a:cubicBezTo>
                    <a:pt x="981764" y="658539"/>
                    <a:pt x="991327" y="658733"/>
                    <a:pt x="997999" y="663515"/>
                  </a:cubicBezTo>
                  <a:cubicBezTo>
                    <a:pt x="998791" y="664080"/>
                    <a:pt x="999534" y="664694"/>
                    <a:pt x="1000293" y="665324"/>
                  </a:cubicBezTo>
                  <a:cubicBezTo>
                    <a:pt x="1001602" y="666422"/>
                    <a:pt x="1002845" y="667440"/>
                    <a:pt x="1004154" y="667941"/>
                  </a:cubicBezTo>
                  <a:cubicBezTo>
                    <a:pt x="1005656" y="668523"/>
                    <a:pt x="1007579" y="668523"/>
                    <a:pt x="1010212" y="667990"/>
                  </a:cubicBezTo>
                  <a:cubicBezTo>
                    <a:pt x="1026527" y="664629"/>
                    <a:pt x="1037642" y="649380"/>
                    <a:pt x="1046349" y="634906"/>
                  </a:cubicBezTo>
                  <a:cubicBezTo>
                    <a:pt x="1054087" y="622047"/>
                    <a:pt x="1059676" y="610997"/>
                    <a:pt x="1061727" y="598962"/>
                  </a:cubicBezTo>
                  <a:cubicBezTo>
                    <a:pt x="1064005" y="585635"/>
                    <a:pt x="1060952" y="572938"/>
                    <a:pt x="1053570" y="564699"/>
                  </a:cubicBezTo>
                  <a:cubicBezTo>
                    <a:pt x="1050920" y="565022"/>
                    <a:pt x="1048449" y="567026"/>
                    <a:pt x="1045654" y="569320"/>
                  </a:cubicBezTo>
                  <a:cubicBezTo>
                    <a:pt x="1042359" y="572001"/>
                    <a:pt x="1038627" y="575054"/>
                    <a:pt x="1033845" y="575410"/>
                  </a:cubicBezTo>
                  <a:cubicBezTo>
                    <a:pt x="1029500" y="575717"/>
                    <a:pt x="1025348" y="573746"/>
                    <a:pt x="1021681" y="572001"/>
                  </a:cubicBezTo>
                  <a:cubicBezTo>
                    <a:pt x="1016996" y="569772"/>
                    <a:pt x="1014008" y="568496"/>
                    <a:pt x="1011779" y="570273"/>
                  </a:cubicBezTo>
                  <a:cubicBezTo>
                    <a:pt x="1010018" y="571678"/>
                    <a:pt x="1009759" y="574473"/>
                    <a:pt x="1009436" y="577704"/>
                  </a:cubicBezTo>
                  <a:cubicBezTo>
                    <a:pt x="1009097" y="581322"/>
                    <a:pt x="1008693" y="585409"/>
                    <a:pt x="1005866" y="588478"/>
                  </a:cubicBezTo>
                  <a:cubicBezTo>
                    <a:pt x="1001763" y="592921"/>
                    <a:pt x="994736" y="593050"/>
                    <a:pt x="986578" y="588850"/>
                  </a:cubicBezTo>
                  <a:lnTo>
                    <a:pt x="986077" y="588592"/>
                  </a:lnTo>
                  <a:cubicBezTo>
                    <a:pt x="981506" y="586217"/>
                    <a:pt x="976789" y="583778"/>
                    <a:pt x="973057" y="585474"/>
                  </a:cubicBezTo>
                  <a:cubicBezTo>
                    <a:pt x="972072" y="585926"/>
                    <a:pt x="971118" y="586701"/>
                    <a:pt x="970101" y="587509"/>
                  </a:cubicBezTo>
                  <a:cubicBezTo>
                    <a:pt x="969035" y="588365"/>
                    <a:pt x="967823" y="589351"/>
                    <a:pt x="966385" y="590094"/>
                  </a:cubicBezTo>
                  <a:cubicBezTo>
                    <a:pt x="962831" y="591919"/>
                    <a:pt x="958421" y="591645"/>
                    <a:pt x="954625" y="589351"/>
                  </a:cubicBezTo>
                  <a:cubicBezTo>
                    <a:pt x="950829" y="587073"/>
                    <a:pt x="948519" y="583309"/>
                    <a:pt x="948454" y="579319"/>
                  </a:cubicBezTo>
                  <a:cubicBezTo>
                    <a:pt x="948406" y="575975"/>
                    <a:pt x="949714" y="572890"/>
                    <a:pt x="950877" y="570176"/>
                  </a:cubicBezTo>
                  <a:cubicBezTo>
                    <a:pt x="952121" y="567268"/>
                    <a:pt x="953204" y="564748"/>
                    <a:pt x="952590" y="562470"/>
                  </a:cubicBezTo>
                  <a:cubicBezTo>
                    <a:pt x="952105" y="560661"/>
                    <a:pt x="950554" y="559110"/>
                    <a:pt x="948583" y="557252"/>
                  </a:cubicBezTo>
                  <a:lnTo>
                    <a:pt x="930168" y="539919"/>
                  </a:lnTo>
                  <a:cubicBezTo>
                    <a:pt x="927761" y="537657"/>
                    <a:pt x="919894" y="529596"/>
                    <a:pt x="919764" y="521228"/>
                  </a:cubicBezTo>
                  <a:cubicBezTo>
                    <a:pt x="919716" y="517981"/>
                    <a:pt x="920879" y="515074"/>
                    <a:pt x="923141" y="512796"/>
                  </a:cubicBezTo>
                  <a:cubicBezTo>
                    <a:pt x="924045" y="511891"/>
                    <a:pt x="925079" y="511164"/>
                    <a:pt x="926000" y="510518"/>
                  </a:cubicBezTo>
                  <a:cubicBezTo>
                    <a:pt x="927308" y="509597"/>
                    <a:pt x="928439" y="508806"/>
                    <a:pt x="928730" y="507885"/>
                  </a:cubicBezTo>
                  <a:cubicBezTo>
                    <a:pt x="929118" y="506690"/>
                    <a:pt x="928116" y="504880"/>
                    <a:pt x="927131" y="503136"/>
                  </a:cubicBezTo>
                  <a:cubicBezTo>
                    <a:pt x="926888" y="502700"/>
                    <a:pt x="926662" y="502280"/>
                    <a:pt x="926436" y="501860"/>
                  </a:cubicBezTo>
                  <a:cubicBezTo>
                    <a:pt x="921267" y="492005"/>
                    <a:pt x="924061" y="478888"/>
                    <a:pt x="932785" y="471990"/>
                  </a:cubicBezTo>
                  <a:cubicBezTo>
                    <a:pt x="935692" y="469697"/>
                    <a:pt x="938552" y="468776"/>
                    <a:pt x="941282" y="469260"/>
                  </a:cubicBezTo>
                  <a:cubicBezTo>
                    <a:pt x="943673" y="469680"/>
                    <a:pt x="945579" y="471054"/>
                    <a:pt x="946823" y="473218"/>
                  </a:cubicBezTo>
                  <a:cubicBezTo>
                    <a:pt x="949003" y="477031"/>
                    <a:pt x="948519" y="482604"/>
                    <a:pt x="947097" y="486432"/>
                  </a:cubicBezTo>
                  <a:lnTo>
                    <a:pt x="947000" y="486691"/>
                  </a:lnTo>
                  <a:cubicBezTo>
                    <a:pt x="945805" y="489873"/>
                    <a:pt x="944383" y="493653"/>
                    <a:pt x="944900" y="496303"/>
                  </a:cubicBezTo>
                  <a:cubicBezTo>
                    <a:pt x="952057" y="493088"/>
                    <a:pt x="960651" y="495705"/>
                    <a:pt x="966918" y="499614"/>
                  </a:cubicBezTo>
                  <a:cubicBezTo>
                    <a:pt x="967322" y="499436"/>
                    <a:pt x="967694" y="499340"/>
                    <a:pt x="968033" y="499275"/>
                  </a:cubicBezTo>
                  <a:cubicBezTo>
                    <a:pt x="970747" y="498806"/>
                    <a:pt x="973138" y="500696"/>
                    <a:pt x="975448" y="502522"/>
                  </a:cubicBezTo>
                  <a:cubicBezTo>
                    <a:pt x="976514" y="503362"/>
                    <a:pt x="977613" y="504218"/>
                    <a:pt x="978501" y="504670"/>
                  </a:cubicBezTo>
                  <a:cubicBezTo>
                    <a:pt x="980504" y="505640"/>
                    <a:pt x="983509" y="503540"/>
                    <a:pt x="984979" y="501019"/>
                  </a:cubicBezTo>
                  <a:cubicBezTo>
                    <a:pt x="985722" y="499727"/>
                    <a:pt x="986320" y="498289"/>
                    <a:pt x="986950" y="496771"/>
                  </a:cubicBezTo>
                  <a:cubicBezTo>
                    <a:pt x="987967" y="494316"/>
                    <a:pt x="989001" y="491763"/>
                    <a:pt x="990843" y="489518"/>
                  </a:cubicBezTo>
                  <a:cubicBezTo>
                    <a:pt x="995221" y="484171"/>
                    <a:pt x="1001811" y="482846"/>
                    <a:pt x="1008192" y="481570"/>
                  </a:cubicBezTo>
                  <a:cubicBezTo>
                    <a:pt x="1013588" y="480488"/>
                    <a:pt x="1018676" y="479470"/>
                    <a:pt x="1021907" y="476126"/>
                  </a:cubicBezTo>
                  <a:cubicBezTo>
                    <a:pt x="1023991" y="473977"/>
                    <a:pt x="1025154" y="470989"/>
                    <a:pt x="1026398" y="467807"/>
                  </a:cubicBezTo>
                  <a:cubicBezTo>
                    <a:pt x="1027271" y="465577"/>
                    <a:pt x="1028159" y="463267"/>
                    <a:pt x="1029435" y="461102"/>
                  </a:cubicBezTo>
                  <a:cubicBezTo>
                    <a:pt x="1031826" y="457048"/>
                    <a:pt x="1036511" y="453930"/>
                    <a:pt x="1040840" y="453542"/>
                  </a:cubicBezTo>
                  <a:cubicBezTo>
                    <a:pt x="1043909" y="453284"/>
                    <a:pt x="1046656" y="454318"/>
                    <a:pt x="1048562" y="456531"/>
                  </a:cubicBezTo>
                  <a:cubicBezTo>
                    <a:pt x="1049418" y="457516"/>
                    <a:pt x="1049967" y="458599"/>
                    <a:pt x="1050452" y="459552"/>
                  </a:cubicBezTo>
                  <a:cubicBezTo>
                    <a:pt x="1050807" y="460246"/>
                    <a:pt x="1051130" y="460892"/>
                    <a:pt x="1051502" y="461345"/>
                  </a:cubicBezTo>
                  <a:cubicBezTo>
                    <a:pt x="1053053" y="463251"/>
                    <a:pt x="1056542" y="463106"/>
                    <a:pt x="1059030" y="462023"/>
                  </a:cubicBezTo>
                  <a:cubicBezTo>
                    <a:pt x="1060920" y="461200"/>
                    <a:pt x="1062681" y="459939"/>
                    <a:pt x="1064538" y="458599"/>
                  </a:cubicBezTo>
                  <a:cubicBezTo>
                    <a:pt x="1065863" y="457645"/>
                    <a:pt x="1067236" y="456660"/>
                    <a:pt x="1068706" y="455804"/>
                  </a:cubicBezTo>
                  <a:cubicBezTo>
                    <a:pt x="1071307" y="454285"/>
                    <a:pt x="1074150" y="453284"/>
                    <a:pt x="1077074" y="452735"/>
                  </a:cubicBezTo>
                  <a:cubicBezTo>
                    <a:pt x="1074667" y="445045"/>
                    <a:pt x="1075717" y="436726"/>
                    <a:pt x="1076751" y="428665"/>
                  </a:cubicBezTo>
                  <a:cubicBezTo>
                    <a:pt x="1077995" y="418956"/>
                    <a:pt x="1079158" y="409797"/>
                    <a:pt x="1074166" y="402802"/>
                  </a:cubicBezTo>
                  <a:lnTo>
                    <a:pt x="1074360" y="402802"/>
                  </a:lnTo>
                  <a:close/>
                  <a:moveTo>
                    <a:pt x="574727" y="302081"/>
                  </a:moveTo>
                  <a:cubicBezTo>
                    <a:pt x="573289" y="313340"/>
                    <a:pt x="570737" y="324583"/>
                    <a:pt x="561852" y="330447"/>
                  </a:cubicBezTo>
                  <a:cubicBezTo>
                    <a:pt x="556262" y="334147"/>
                    <a:pt x="549688" y="334680"/>
                    <a:pt x="543339" y="335197"/>
                  </a:cubicBezTo>
                  <a:lnTo>
                    <a:pt x="541530" y="335342"/>
                  </a:lnTo>
                  <a:cubicBezTo>
                    <a:pt x="520949" y="337135"/>
                    <a:pt x="500563" y="343468"/>
                    <a:pt x="482599" y="353677"/>
                  </a:cubicBezTo>
                  <a:lnTo>
                    <a:pt x="481113" y="354533"/>
                  </a:lnTo>
                  <a:cubicBezTo>
                    <a:pt x="476057" y="357441"/>
                    <a:pt x="470823" y="360446"/>
                    <a:pt x="464668" y="360801"/>
                  </a:cubicBezTo>
                  <a:cubicBezTo>
                    <a:pt x="464442" y="360801"/>
                    <a:pt x="464232" y="360817"/>
                    <a:pt x="464022" y="360817"/>
                  </a:cubicBezTo>
                  <a:cubicBezTo>
                    <a:pt x="459046" y="360817"/>
                    <a:pt x="456219" y="357409"/>
                    <a:pt x="453715" y="354388"/>
                  </a:cubicBezTo>
                  <a:cubicBezTo>
                    <a:pt x="452472" y="352885"/>
                    <a:pt x="451292" y="351448"/>
                    <a:pt x="449871" y="350381"/>
                  </a:cubicBezTo>
                  <a:cubicBezTo>
                    <a:pt x="445057" y="346779"/>
                    <a:pt x="438547" y="349073"/>
                    <a:pt x="431019" y="351739"/>
                  </a:cubicBezTo>
                  <a:cubicBezTo>
                    <a:pt x="424460" y="354065"/>
                    <a:pt x="417675" y="356455"/>
                    <a:pt x="411020" y="355066"/>
                  </a:cubicBezTo>
                  <a:cubicBezTo>
                    <a:pt x="397386" y="352223"/>
                    <a:pt x="383008" y="341238"/>
                    <a:pt x="381894" y="325746"/>
                  </a:cubicBezTo>
                  <a:cubicBezTo>
                    <a:pt x="381635" y="322063"/>
                    <a:pt x="382120" y="318396"/>
                    <a:pt x="382605" y="314858"/>
                  </a:cubicBezTo>
                  <a:cubicBezTo>
                    <a:pt x="383299" y="309705"/>
                    <a:pt x="383962" y="304843"/>
                    <a:pt x="382169" y="300643"/>
                  </a:cubicBezTo>
                  <a:cubicBezTo>
                    <a:pt x="379600" y="294601"/>
                    <a:pt x="372524" y="291338"/>
                    <a:pt x="365497" y="288495"/>
                  </a:cubicBezTo>
                  <a:lnTo>
                    <a:pt x="321316" y="270677"/>
                  </a:lnTo>
                  <a:cubicBezTo>
                    <a:pt x="313917" y="267688"/>
                    <a:pt x="304709" y="263989"/>
                    <a:pt x="298877" y="256526"/>
                  </a:cubicBezTo>
                  <a:cubicBezTo>
                    <a:pt x="287327" y="241744"/>
                    <a:pt x="294144" y="219872"/>
                    <a:pt x="306825" y="205898"/>
                  </a:cubicBezTo>
                  <a:cubicBezTo>
                    <a:pt x="312124" y="200067"/>
                    <a:pt x="318246" y="195043"/>
                    <a:pt x="324175" y="190164"/>
                  </a:cubicBezTo>
                  <a:cubicBezTo>
                    <a:pt x="331687" y="183993"/>
                    <a:pt x="338778" y="178178"/>
                    <a:pt x="344400" y="170828"/>
                  </a:cubicBezTo>
                  <a:cubicBezTo>
                    <a:pt x="345111" y="169891"/>
                    <a:pt x="345822" y="168921"/>
                    <a:pt x="346516" y="167952"/>
                  </a:cubicBezTo>
                  <a:cubicBezTo>
                    <a:pt x="349941" y="163235"/>
                    <a:pt x="353479" y="158373"/>
                    <a:pt x="359181" y="155949"/>
                  </a:cubicBezTo>
                  <a:cubicBezTo>
                    <a:pt x="365885" y="153106"/>
                    <a:pt x="372718" y="154770"/>
                    <a:pt x="379342" y="156386"/>
                  </a:cubicBezTo>
                  <a:cubicBezTo>
                    <a:pt x="383073" y="157290"/>
                    <a:pt x="386595" y="158146"/>
                    <a:pt x="390052" y="158243"/>
                  </a:cubicBezTo>
                  <a:cubicBezTo>
                    <a:pt x="395173" y="158373"/>
                    <a:pt x="400132" y="156790"/>
                    <a:pt x="405398" y="155093"/>
                  </a:cubicBezTo>
                  <a:cubicBezTo>
                    <a:pt x="408354" y="154140"/>
                    <a:pt x="411424" y="153171"/>
                    <a:pt x="414558" y="152509"/>
                  </a:cubicBezTo>
                  <a:cubicBezTo>
                    <a:pt x="434831" y="148179"/>
                    <a:pt x="453958" y="156951"/>
                    <a:pt x="472470" y="165432"/>
                  </a:cubicBezTo>
                  <a:cubicBezTo>
                    <a:pt x="482325" y="169939"/>
                    <a:pt x="492502" y="174608"/>
                    <a:pt x="502711" y="177225"/>
                  </a:cubicBezTo>
                  <a:cubicBezTo>
                    <a:pt x="504262" y="177628"/>
                    <a:pt x="505845" y="177984"/>
                    <a:pt x="507412" y="178339"/>
                  </a:cubicBezTo>
                  <a:cubicBezTo>
                    <a:pt x="514019" y="179842"/>
                    <a:pt x="520869" y="181409"/>
                    <a:pt x="526490" y="185770"/>
                  </a:cubicBezTo>
                  <a:cubicBezTo>
                    <a:pt x="532322" y="190293"/>
                    <a:pt x="535633" y="196949"/>
                    <a:pt x="538541" y="202829"/>
                  </a:cubicBezTo>
                  <a:lnTo>
                    <a:pt x="556989" y="239968"/>
                  </a:lnTo>
                  <a:cubicBezTo>
                    <a:pt x="577893" y="253262"/>
                    <a:pt x="577699" y="278802"/>
                    <a:pt x="574727" y="30208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4" name="Free-form: Shape 333">
              <a:extLst>
                <a:ext uri="{FF2B5EF4-FFF2-40B4-BE49-F238E27FC236}">
                  <a16:creationId xmlns:a16="http://schemas.microsoft.com/office/drawing/2014/main" id="{207F9C87-8BE0-80E1-322C-1C40A71E1091}"/>
                </a:ext>
              </a:extLst>
            </p:cNvPr>
            <p:cNvSpPr/>
            <p:nvPr/>
          </p:nvSpPr>
          <p:spPr>
            <a:xfrm>
              <a:off x="5389271" y="3799649"/>
              <a:ext cx="26411" cy="11648"/>
            </a:xfrm>
            <a:custGeom>
              <a:avLst/>
              <a:gdLst>
                <a:gd name="connsiteX0" fmla="*/ 6992 w 26411"/>
                <a:gd name="connsiteY0" fmla="*/ 11540 h 11648"/>
                <a:gd name="connsiteX1" fmla="*/ 21240 w 26411"/>
                <a:gd name="connsiteY1" fmla="*/ 7630 h 11648"/>
                <a:gd name="connsiteX2" fmla="*/ 23841 w 26411"/>
                <a:gd name="connsiteY2" fmla="*/ 5320 h 11648"/>
                <a:gd name="connsiteX3" fmla="*/ 26393 w 26411"/>
                <a:gd name="connsiteY3" fmla="*/ 2445 h 11648"/>
                <a:gd name="connsiteX4" fmla="*/ 10562 w 26411"/>
                <a:gd name="connsiteY4" fmla="*/ 345 h 11648"/>
                <a:gd name="connsiteX5" fmla="*/ 6782 w 26411"/>
                <a:gd name="connsiteY5" fmla="*/ 571 h 11648"/>
                <a:gd name="connsiteX6" fmla="*/ 3535 w 26411"/>
                <a:gd name="connsiteY6" fmla="*/ 943 h 11648"/>
                <a:gd name="connsiteX7" fmla="*/ 320 w 26411"/>
                <a:gd name="connsiteY7" fmla="*/ 4723 h 11648"/>
                <a:gd name="connsiteX8" fmla="*/ 175 w 26411"/>
                <a:gd name="connsiteY8" fmla="*/ 7533 h 11648"/>
                <a:gd name="connsiteX9" fmla="*/ 6992 w 26411"/>
                <a:gd name="connsiteY9" fmla="*/ 11540 h 1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411" h="11648">
                  <a:moveTo>
                    <a:pt x="6992" y="11540"/>
                  </a:moveTo>
                  <a:cubicBezTo>
                    <a:pt x="11612" y="12008"/>
                    <a:pt x="18058" y="11007"/>
                    <a:pt x="21240" y="7630"/>
                  </a:cubicBezTo>
                  <a:cubicBezTo>
                    <a:pt x="22048" y="6774"/>
                    <a:pt x="22969" y="6031"/>
                    <a:pt x="23841" y="5320"/>
                  </a:cubicBezTo>
                  <a:cubicBezTo>
                    <a:pt x="25392" y="4060"/>
                    <a:pt x="26571" y="3059"/>
                    <a:pt x="26393" y="2445"/>
                  </a:cubicBezTo>
                  <a:cubicBezTo>
                    <a:pt x="25456" y="-834"/>
                    <a:pt x="14633" y="22"/>
                    <a:pt x="10562" y="345"/>
                  </a:cubicBezTo>
                  <a:cubicBezTo>
                    <a:pt x="9028" y="458"/>
                    <a:pt x="7719" y="571"/>
                    <a:pt x="6782" y="571"/>
                  </a:cubicBezTo>
                  <a:cubicBezTo>
                    <a:pt x="5603" y="571"/>
                    <a:pt x="4391" y="587"/>
                    <a:pt x="3535" y="943"/>
                  </a:cubicBezTo>
                  <a:cubicBezTo>
                    <a:pt x="2243" y="1459"/>
                    <a:pt x="918" y="3010"/>
                    <a:pt x="320" y="4723"/>
                  </a:cubicBezTo>
                  <a:cubicBezTo>
                    <a:pt x="-51" y="5789"/>
                    <a:pt x="-100" y="6790"/>
                    <a:pt x="175" y="7533"/>
                  </a:cubicBezTo>
                  <a:cubicBezTo>
                    <a:pt x="1031" y="9779"/>
                    <a:pt x="4262" y="11249"/>
                    <a:pt x="6992" y="1154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5" name="Free-form: Shape 334">
              <a:extLst>
                <a:ext uri="{FF2B5EF4-FFF2-40B4-BE49-F238E27FC236}">
                  <a16:creationId xmlns:a16="http://schemas.microsoft.com/office/drawing/2014/main" id="{8F133588-01CA-ABE4-5B4D-7331BFBDD316}"/>
                </a:ext>
              </a:extLst>
            </p:cNvPr>
            <p:cNvSpPr/>
            <p:nvPr/>
          </p:nvSpPr>
          <p:spPr>
            <a:xfrm>
              <a:off x="5458753" y="2599155"/>
              <a:ext cx="46562" cy="50967"/>
            </a:xfrm>
            <a:custGeom>
              <a:avLst/>
              <a:gdLst>
                <a:gd name="connsiteX0" fmla="*/ 46502 w 46562"/>
                <a:gd name="connsiteY0" fmla="*/ 8319 h 50967"/>
                <a:gd name="connsiteX1" fmla="*/ 40735 w 46562"/>
                <a:gd name="connsiteY1" fmla="*/ 0 h 50967"/>
                <a:gd name="connsiteX2" fmla="*/ 40719 w 46562"/>
                <a:gd name="connsiteY2" fmla="*/ 0 h 50967"/>
                <a:gd name="connsiteX3" fmla="*/ 29637 w 46562"/>
                <a:gd name="connsiteY3" fmla="*/ 9418 h 50967"/>
                <a:gd name="connsiteX4" fmla="*/ 27134 w 46562"/>
                <a:gd name="connsiteY4" fmla="*/ 11986 h 50967"/>
                <a:gd name="connsiteX5" fmla="*/ 26617 w 46562"/>
                <a:gd name="connsiteY5" fmla="*/ 12374 h 50967"/>
                <a:gd name="connsiteX6" fmla="*/ 17037 w 46562"/>
                <a:gd name="connsiteY6" fmla="*/ 10258 h 50967"/>
                <a:gd name="connsiteX7" fmla="*/ 15163 w 46562"/>
                <a:gd name="connsiteY7" fmla="*/ 8029 h 50967"/>
                <a:gd name="connsiteX8" fmla="*/ 12934 w 46562"/>
                <a:gd name="connsiteY8" fmla="*/ 5606 h 50967"/>
                <a:gd name="connsiteX9" fmla="*/ 10075 w 46562"/>
                <a:gd name="connsiteY9" fmla="*/ 4749 h 50967"/>
                <a:gd name="connsiteX10" fmla="*/ 4372 w 46562"/>
                <a:gd name="connsiteY10" fmla="*/ 7011 h 50967"/>
                <a:gd name="connsiteX11" fmla="*/ 11 w 46562"/>
                <a:gd name="connsiteY11" fmla="*/ 16623 h 50967"/>
                <a:gd name="connsiteX12" fmla="*/ 3661 w 46562"/>
                <a:gd name="connsiteY12" fmla="*/ 26525 h 50967"/>
                <a:gd name="connsiteX13" fmla="*/ 5471 w 46562"/>
                <a:gd name="connsiteY13" fmla="*/ 28125 h 50967"/>
                <a:gd name="connsiteX14" fmla="*/ 10656 w 46562"/>
                <a:gd name="connsiteY14" fmla="*/ 34651 h 50967"/>
                <a:gd name="connsiteX15" fmla="*/ 11076 w 46562"/>
                <a:gd name="connsiteY15" fmla="*/ 40321 h 50967"/>
                <a:gd name="connsiteX16" fmla="*/ 11012 w 46562"/>
                <a:gd name="connsiteY16" fmla="*/ 42631 h 50967"/>
                <a:gd name="connsiteX17" fmla="*/ 13968 w 46562"/>
                <a:gd name="connsiteY17" fmla="*/ 48285 h 50967"/>
                <a:gd name="connsiteX18" fmla="*/ 21415 w 46562"/>
                <a:gd name="connsiteY18" fmla="*/ 50950 h 50967"/>
                <a:gd name="connsiteX19" fmla="*/ 33224 w 46562"/>
                <a:gd name="connsiteY19" fmla="*/ 41339 h 50967"/>
                <a:gd name="connsiteX20" fmla="*/ 34613 w 46562"/>
                <a:gd name="connsiteY20" fmla="*/ 36363 h 50967"/>
                <a:gd name="connsiteX21" fmla="*/ 36842 w 46562"/>
                <a:gd name="connsiteY21" fmla="*/ 29191 h 50967"/>
                <a:gd name="connsiteX22" fmla="*/ 41042 w 46562"/>
                <a:gd name="connsiteY22" fmla="*/ 22713 h 50967"/>
                <a:gd name="connsiteX23" fmla="*/ 43401 w 46562"/>
                <a:gd name="connsiteY23" fmla="*/ 19450 h 50967"/>
                <a:gd name="connsiteX24" fmla="*/ 46486 w 46562"/>
                <a:gd name="connsiteY24" fmla="*/ 8319 h 50967"/>
                <a:gd name="connsiteX25" fmla="*/ 46502 w 46562"/>
                <a:gd name="connsiteY25" fmla="*/ 8319 h 5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6562" h="50967">
                  <a:moveTo>
                    <a:pt x="46502" y="8319"/>
                  </a:moveTo>
                  <a:cubicBezTo>
                    <a:pt x="46082" y="4555"/>
                    <a:pt x="43772" y="1212"/>
                    <a:pt x="40735" y="0"/>
                  </a:cubicBezTo>
                  <a:cubicBezTo>
                    <a:pt x="40735" y="0"/>
                    <a:pt x="40735" y="0"/>
                    <a:pt x="40719" y="0"/>
                  </a:cubicBezTo>
                  <a:cubicBezTo>
                    <a:pt x="38587" y="0"/>
                    <a:pt x="31851" y="7076"/>
                    <a:pt x="29637" y="9418"/>
                  </a:cubicBezTo>
                  <a:cubicBezTo>
                    <a:pt x="28636" y="10468"/>
                    <a:pt x="27780" y="11373"/>
                    <a:pt x="27134" y="11986"/>
                  </a:cubicBezTo>
                  <a:cubicBezTo>
                    <a:pt x="26972" y="12132"/>
                    <a:pt x="26794" y="12277"/>
                    <a:pt x="26617" y="12374"/>
                  </a:cubicBezTo>
                  <a:cubicBezTo>
                    <a:pt x="23305" y="14329"/>
                    <a:pt x="19412" y="12730"/>
                    <a:pt x="17037" y="10258"/>
                  </a:cubicBezTo>
                  <a:cubicBezTo>
                    <a:pt x="16326" y="9531"/>
                    <a:pt x="15745" y="8772"/>
                    <a:pt x="15163" y="8029"/>
                  </a:cubicBezTo>
                  <a:cubicBezTo>
                    <a:pt x="14420" y="7076"/>
                    <a:pt x="13726" y="6155"/>
                    <a:pt x="12934" y="5606"/>
                  </a:cubicBezTo>
                  <a:cubicBezTo>
                    <a:pt x="12110" y="5008"/>
                    <a:pt x="11109" y="4749"/>
                    <a:pt x="10075" y="4749"/>
                  </a:cubicBezTo>
                  <a:cubicBezTo>
                    <a:pt x="8072" y="4749"/>
                    <a:pt x="5907" y="5702"/>
                    <a:pt x="4372" y="7011"/>
                  </a:cubicBezTo>
                  <a:cubicBezTo>
                    <a:pt x="1739" y="9240"/>
                    <a:pt x="156" y="12746"/>
                    <a:pt x="11" y="16623"/>
                  </a:cubicBezTo>
                  <a:cubicBezTo>
                    <a:pt x="-135" y="20500"/>
                    <a:pt x="1206" y="24118"/>
                    <a:pt x="3661" y="26525"/>
                  </a:cubicBezTo>
                  <a:cubicBezTo>
                    <a:pt x="4227" y="27074"/>
                    <a:pt x="4857" y="27608"/>
                    <a:pt x="5471" y="28125"/>
                  </a:cubicBezTo>
                  <a:cubicBezTo>
                    <a:pt x="7458" y="29788"/>
                    <a:pt x="9703" y="31678"/>
                    <a:pt x="10656" y="34651"/>
                  </a:cubicBezTo>
                  <a:cubicBezTo>
                    <a:pt x="11302" y="36654"/>
                    <a:pt x="11189" y="38609"/>
                    <a:pt x="11076" y="40321"/>
                  </a:cubicBezTo>
                  <a:cubicBezTo>
                    <a:pt x="11028" y="41145"/>
                    <a:pt x="10979" y="41936"/>
                    <a:pt x="11012" y="42631"/>
                  </a:cubicBezTo>
                  <a:cubicBezTo>
                    <a:pt x="11125" y="44699"/>
                    <a:pt x="12175" y="46702"/>
                    <a:pt x="13968" y="48285"/>
                  </a:cubicBezTo>
                  <a:cubicBezTo>
                    <a:pt x="16052" y="50127"/>
                    <a:pt x="18846" y="51112"/>
                    <a:pt x="21415" y="50950"/>
                  </a:cubicBezTo>
                  <a:cubicBezTo>
                    <a:pt x="26358" y="50627"/>
                    <a:pt x="31221" y="46670"/>
                    <a:pt x="33224" y="41339"/>
                  </a:cubicBezTo>
                  <a:cubicBezTo>
                    <a:pt x="33805" y="39788"/>
                    <a:pt x="34193" y="38124"/>
                    <a:pt x="34613" y="36363"/>
                  </a:cubicBezTo>
                  <a:cubicBezTo>
                    <a:pt x="35162" y="34005"/>
                    <a:pt x="35728" y="31565"/>
                    <a:pt x="36842" y="29191"/>
                  </a:cubicBezTo>
                  <a:cubicBezTo>
                    <a:pt x="37973" y="26751"/>
                    <a:pt x="39540" y="24700"/>
                    <a:pt x="41042" y="22713"/>
                  </a:cubicBezTo>
                  <a:cubicBezTo>
                    <a:pt x="41882" y="21598"/>
                    <a:pt x="42690" y="20548"/>
                    <a:pt x="43401" y="19450"/>
                  </a:cubicBezTo>
                  <a:cubicBezTo>
                    <a:pt x="45776" y="15767"/>
                    <a:pt x="46874" y="11825"/>
                    <a:pt x="46486" y="8319"/>
                  </a:cubicBezTo>
                  <a:lnTo>
                    <a:pt x="46502" y="831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6" name="Free-form: Shape 335">
              <a:extLst>
                <a:ext uri="{FF2B5EF4-FFF2-40B4-BE49-F238E27FC236}">
                  <a16:creationId xmlns:a16="http://schemas.microsoft.com/office/drawing/2014/main" id="{990F826D-0F7A-E268-EB8B-9B8934935553}"/>
                </a:ext>
              </a:extLst>
            </p:cNvPr>
            <p:cNvSpPr/>
            <p:nvPr/>
          </p:nvSpPr>
          <p:spPr>
            <a:xfrm>
              <a:off x="5356237" y="3830089"/>
              <a:ext cx="25997" cy="34148"/>
            </a:xfrm>
            <a:custGeom>
              <a:avLst/>
              <a:gdLst>
                <a:gd name="connsiteX0" fmla="*/ 8186 w 25997"/>
                <a:gd name="connsiteY0" fmla="*/ 33051 h 34148"/>
                <a:gd name="connsiteX1" fmla="*/ 13259 w 25997"/>
                <a:gd name="connsiteY1" fmla="*/ 29142 h 34148"/>
                <a:gd name="connsiteX2" fmla="*/ 15779 w 25997"/>
                <a:gd name="connsiteY2" fmla="*/ 26977 h 34148"/>
                <a:gd name="connsiteX3" fmla="*/ 18654 w 25997"/>
                <a:gd name="connsiteY3" fmla="*/ 24780 h 34148"/>
                <a:gd name="connsiteX4" fmla="*/ 25471 w 25997"/>
                <a:gd name="connsiteY4" fmla="*/ 17834 h 34148"/>
                <a:gd name="connsiteX5" fmla="*/ 23694 w 25997"/>
                <a:gd name="connsiteY5" fmla="*/ 8675 h 34148"/>
                <a:gd name="connsiteX6" fmla="*/ 23500 w 25997"/>
                <a:gd name="connsiteY6" fmla="*/ 8465 h 34148"/>
                <a:gd name="connsiteX7" fmla="*/ 14486 w 25997"/>
                <a:gd name="connsiteY7" fmla="*/ 452 h 34148"/>
                <a:gd name="connsiteX8" fmla="*/ 11918 w 25997"/>
                <a:gd name="connsiteY8" fmla="*/ 0 h 34148"/>
                <a:gd name="connsiteX9" fmla="*/ 8832 w 25997"/>
                <a:gd name="connsiteY9" fmla="*/ 662 h 34148"/>
                <a:gd name="connsiteX10" fmla="*/ 6684 w 25997"/>
                <a:gd name="connsiteY10" fmla="*/ 2891 h 34148"/>
                <a:gd name="connsiteX11" fmla="*/ 6538 w 25997"/>
                <a:gd name="connsiteY11" fmla="*/ 6833 h 34148"/>
                <a:gd name="connsiteX12" fmla="*/ 6635 w 25997"/>
                <a:gd name="connsiteY12" fmla="*/ 10161 h 34148"/>
                <a:gd name="connsiteX13" fmla="*/ 2936 w 25997"/>
                <a:gd name="connsiteY13" fmla="*/ 20661 h 34148"/>
                <a:gd name="connsiteX14" fmla="*/ 1208 w 25997"/>
                <a:gd name="connsiteY14" fmla="*/ 24054 h 34148"/>
                <a:gd name="connsiteX15" fmla="*/ 1628 w 25997"/>
                <a:gd name="connsiteY15" fmla="*/ 33374 h 34148"/>
                <a:gd name="connsiteX16" fmla="*/ 8202 w 25997"/>
                <a:gd name="connsiteY16" fmla="*/ 33051 h 34148"/>
                <a:gd name="connsiteX17" fmla="*/ 8186 w 25997"/>
                <a:gd name="connsiteY17" fmla="*/ 33051 h 3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997" h="34148">
                  <a:moveTo>
                    <a:pt x="8186" y="33051"/>
                  </a:moveTo>
                  <a:cubicBezTo>
                    <a:pt x="9963" y="32082"/>
                    <a:pt x="11562" y="30661"/>
                    <a:pt x="13259" y="29142"/>
                  </a:cubicBezTo>
                  <a:cubicBezTo>
                    <a:pt x="14083" y="28399"/>
                    <a:pt x="14923" y="27672"/>
                    <a:pt x="15779" y="26977"/>
                  </a:cubicBezTo>
                  <a:cubicBezTo>
                    <a:pt x="16699" y="26218"/>
                    <a:pt x="17685" y="25507"/>
                    <a:pt x="18654" y="24780"/>
                  </a:cubicBezTo>
                  <a:cubicBezTo>
                    <a:pt x="21546" y="22632"/>
                    <a:pt x="24292" y="20613"/>
                    <a:pt x="25471" y="17834"/>
                  </a:cubicBezTo>
                  <a:cubicBezTo>
                    <a:pt x="26634" y="15104"/>
                    <a:pt x="25794" y="10807"/>
                    <a:pt x="23694" y="8675"/>
                  </a:cubicBezTo>
                  <a:cubicBezTo>
                    <a:pt x="23630" y="8610"/>
                    <a:pt x="23565" y="8529"/>
                    <a:pt x="23500" y="8465"/>
                  </a:cubicBezTo>
                  <a:cubicBezTo>
                    <a:pt x="20997" y="5347"/>
                    <a:pt x="18153" y="1825"/>
                    <a:pt x="14486" y="452"/>
                  </a:cubicBezTo>
                  <a:cubicBezTo>
                    <a:pt x="13695" y="162"/>
                    <a:pt x="12806" y="0"/>
                    <a:pt x="11918" y="0"/>
                  </a:cubicBezTo>
                  <a:cubicBezTo>
                    <a:pt x="10836" y="0"/>
                    <a:pt x="9753" y="226"/>
                    <a:pt x="8832" y="662"/>
                  </a:cubicBezTo>
                  <a:cubicBezTo>
                    <a:pt x="8073" y="1018"/>
                    <a:pt x="7072" y="1712"/>
                    <a:pt x="6684" y="2891"/>
                  </a:cubicBezTo>
                  <a:cubicBezTo>
                    <a:pt x="6329" y="3958"/>
                    <a:pt x="6425" y="5298"/>
                    <a:pt x="6538" y="6833"/>
                  </a:cubicBezTo>
                  <a:cubicBezTo>
                    <a:pt x="6619" y="7899"/>
                    <a:pt x="6700" y="8998"/>
                    <a:pt x="6635" y="10161"/>
                  </a:cubicBezTo>
                  <a:cubicBezTo>
                    <a:pt x="6425" y="14135"/>
                    <a:pt x="4648" y="17463"/>
                    <a:pt x="2936" y="20661"/>
                  </a:cubicBezTo>
                  <a:cubicBezTo>
                    <a:pt x="2338" y="21776"/>
                    <a:pt x="1725" y="22907"/>
                    <a:pt x="1208" y="24054"/>
                  </a:cubicBezTo>
                  <a:cubicBezTo>
                    <a:pt x="-295" y="27397"/>
                    <a:pt x="-650" y="31662"/>
                    <a:pt x="1628" y="33374"/>
                  </a:cubicBezTo>
                  <a:cubicBezTo>
                    <a:pt x="3372" y="34683"/>
                    <a:pt x="6183" y="34166"/>
                    <a:pt x="8202" y="33051"/>
                  </a:cubicBezTo>
                  <a:lnTo>
                    <a:pt x="8186" y="3305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7" name="Free-form: Shape 336">
              <a:extLst>
                <a:ext uri="{FF2B5EF4-FFF2-40B4-BE49-F238E27FC236}">
                  <a16:creationId xmlns:a16="http://schemas.microsoft.com/office/drawing/2014/main" id="{7753783B-9636-9B21-3F93-BEBA0273F2BB}"/>
                </a:ext>
              </a:extLst>
            </p:cNvPr>
            <p:cNvSpPr/>
            <p:nvPr/>
          </p:nvSpPr>
          <p:spPr>
            <a:xfrm>
              <a:off x="4974538" y="4782913"/>
              <a:ext cx="64931" cy="68315"/>
            </a:xfrm>
            <a:custGeom>
              <a:avLst/>
              <a:gdLst>
                <a:gd name="connsiteX0" fmla="*/ 28839 w 64931"/>
                <a:gd name="connsiteY0" fmla="*/ 68203 h 68315"/>
                <a:gd name="connsiteX1" fmla="*/ 28839 w 64931"/>
                <a:gd name="connsiteY1" fmla="*/ 68316 h 68315"/>
                <a:gd name="connsiteX2" fmla="*/ 29017 w 64931"/>
                <a:gd name="connsiteY2" fmla="*/ 68154 h 68315"/>
                <a:gd name="connsiteX3" fmla="*/ 62844 w 64931"/>
                <a:gd name="connsiteY3" fmla="*/ 20531 h 68315"/>
                <a:gd name="connsiteX4" fmla="*/ 64701 w 64931"/>
                <a:gd name="connsiteY4" fmla="*/ 11517 h 68315"/>
                <a:gd name="connsiteX5" fmla="*/ 59613 w 64931"/>
                <a:gd name="connsiteY5" fmla="*/ 7285 h 68315"/>
                <a:gd name="connsiteX6" fmla="*/ 50728 w 64931"/>
                <a:gd name="connsiteY6" fmla="*/ 7996 h 68315"/>
                <a:gd name="connsiteX7" fmla="*/ 50340 w 64931"/>
                <a:gd name="connsiteY7" fmla="*/ 8093 h 68315"/>
                <a:gd name="connsiteX8" fmla="*/ 49484 w 64931"/>
                <a:gd name="connsiteY8" fmla="*/ 8254 h 68315"/>
                <a:gd name="connsiteX9" fmla="*/ 31957 w 64931"/>
                <a:gd name="connsiteY9" fmla="*/ 5573 h 68315"/>
                <a:gd name="connsiteX10" fmla="*/ 30164 w 64931"/>
                <a:gd name="connsiteY10" fmla="*/ 3473 h 68315"/>
                <a:gd name="connsiteX11" fmla="*/ 28839 w 64931"/>
                <a:gd name="connsiteY11" fmla="*/ 1922 h 68315"/>
                <a:gd name="connsiteX12" fmla="*/ 12556 w 64931"/>
                <a:gd name="connsiteY12" fmla="*/ 3747 h 68315"/>
                <a:gd name="connsiteX13" fmla="*/ 3768 w 64931"/>
                <a:gd name="connsiteY13" fmla="*/ 11792 h 68315"/>
                <a:gd name="connsiteX14" fmla="*/ 3881 w 64931"/>
                <a:gd name="connsiteY14" fmla="*/ 21242 h 68315"/>
                <a:gd name="connsiteX15" fmla="*/ 12604 w 64931"/>
                <a:gd name="connsiteY15" fmla="*/ 25006 h 68315"/>
                <a:gd name="connsiteX16" fmla="*/ 17434 w 64931"/>
                <a:gd name="connsiteY16" fmla="*/ 26250 h 68315"/>
                <a:gd name="connsiteX17" fmla="*/ 21085 w 64931"/>
                <a:gd name="connsiteY17" fmla="*/ 28948 h 68315"/>
                <a:gd name="connsiteX18" fmla="*/ 21440 w 64931"/>
                <a:gd name="connsiteY18" fmla="*/ 32566 h 68315"/>
                <a:gd name="connsiteX19" fmla="*/ 17289 w 64931"/>
                <a:gd name="connsiteY19" fmla="*/ 37009 h 68315"/>
                <a:gd name="connsiteX20" fmla="*/ 15205 w 64931"/>
                <a:gd name="connsiteY20" fmla="*/ 38107 h 68315"/>
                <a:gd name="connsiteX21" fmla="*/ 2912 w 64931"/>
                <a:gd name="connsiteY21" fmla="*/ 46200 h 68315"/>
                <a:gd name="connsiteX22" fmla="*/ 4 w 64931"/>
                <a:gd name="connsiteY22" fmla="*/ 52678 h 68315"/>
                <a:gd name="connsiteX23" fmla="*/ 925 w 64931"/>
                <a:gd name="connsiteY23" fmla="*/ 54827 h 68315"/>
                <a:gd name="connsiteX24" fmla="*/ 8840 w 64931"/>
                <a:gd name="connsiteY24" fmla="*/ 54148 h 68315"/>
                <a:gd name="connsiteX25" fmla="*/ 17160 w 64931"/>
                <a:gd name="connsiteY25" fmla="*/ 52258 h 68315"/>
                <a:gd name="connsiteX26" fmla="*/ 20423 w 64931"/>
                <a:gd name="connsiteY26" fmla="*/ 52727 h 68315"/>
                <a:gd name="connsiteX27" fmla="*/ 28807 w 64931"/>
                <a:gd name="connsiteY27" fmla="*/ 68219 h 68315"/>
                <a:gd name="connsiteX28" fmla="*/ 28839 w 64931"/>
                <a:gd name="connsiteY28" fmla="*/ 68203 h 6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4931" h="68315">
                  <a:moveTo>
                    <a:pt x="28839" y="68203"/>
                  </a:moveTo>
                  <a:cubicBezTo>
                    <a:pt x="28839" y="68203"/>
                    <a:pt x="28839" y="68267"/>
                    <a:pt x="28839" y="68316"/>
                  </a:cubicBezTo>
                  <a:cubicBezTo>
                    <a:pt x="28904" y="68267"/>
                    <a:pt x="28952" y="68203"/>
                    <a:pt x="29017" y="68154"/>
                  </a:cubicBezTo>
                  <a:cubicBezTo>
                    <a:pt x="43152" y="54762"/>
                    <a:pt x="54847" y="38285"/>
                    <a:pt x="62844" y="20531"/>
                  </a:cubicBezTo>
                  <a:cubicBezTo>
                    <a:pt x="64152" y="17640"/>
                    <a:pt x="65477" y="14328"/>
                    <a:pt x="64701" y="11517"/>
                  </a:cubicBezTo>
                  <a:cubicBezTo>
                    <a:pt x="64088" y="9304"/>
                    <a:pt x="61907" y="7479"/>
                    <a:pt x="59613" y="7285"/>
                  </a:cubicBezTo>
                  <a:cubicBezTo>
                    <a:pt x="56398" y="7010"/>
                    <a:pt x="54056" y="6914"/>
                    <a:pt x="50728" y="7996"/>
                  </a:cubicBezTo>
                  <a:cubicBezTo>
                    <a:pt x="50599" y="8044"/>
                    <a:pt x="50470" y="8060"/>
                    <a:pt x="50340" y="8093"/>
                  </a:cubicBezTo>
                  <a:lnTo>
                    <a:pt x="49484" y="8254"/>
                  </a:lnTo>
                  <a:cubicBezTo>
                    <a:pt x="43636" y="9337"/>
                    <a:pt x="37013" y="10564"/>
                    <a:pt x="31957" y="5573"/>
                  </a:cubicBezTo>
                  <a:cubicBezTo>
                    <a:pt x="31262" y="4878"/>
                    <a:pt x="30665" y="4135"/>
                    <a:pt x="30164" y="3473"/>
                  </a:cubicBezTo>
                  <a:cubicBezTo>
                    <a:pt x="29711" y="2891"/>
                    <a:pt x="29291" y="2342"/>
                    <a:pt x="28839" y="1922"/>
                  </a:cubicBezTo>
                  <a:cubicBezTo>
                    <a:pt x="25043" y="-1777"/>
                    <a:pt x="17935" y="436"/>
                    <a:pt x="12556" y="3747"/>
                  </a:cubicBezTo>
                  <a:cubicBezTo>
                    <a:pt x="9325" y="5734"/>
                    <a:pt x="5739" y="8254"/>
                    <a:pt x="3768" y="11792"/>
                  </a:cubicBezTo>
                  <a:cubicBezTo>
                    <a:pt x="2217" y="14554"/>
                    <a:pt x="1765" y="18690"/>
                    <a:pt x="3881" y="21242"/>
                  </a:cubicBezTo>
                  <a:cubicBezTo>
                    <a:pt x="5739" y="23472"/>
                    <a:pt x="9066" y="24215"/>
                    <a:pt x="12604" y="25006"/>
                  </a:cubicBezTo>
                  <a:cubicBezTo>
                    <a:pt x="14203" y="25362"/>
                    <a:pt x="15835" y="25717"/>
                    <a:pt x="17434" y="26250"/>
                  </a:cubicBezTo>
                  <a:cubicBezTo>
                    <a:pt x="18161" y="26492"/>
                    <a:pt x="20100" y="27106"/>
                    <a:pt x="21085" y="28948"/>
                  </a:cubicBezTo>
                  <a:cubicBezTo>
                    <a:pt x="21683" y="30062"/>
                    <a:pt x="21812" y="31339"/>
                    <a:pt x="21440" y="32566"/>
                  </a:cubicBezTo>
                  <a:cubicBezTo>
                    <a:pt x="20714" y="34973"/>
                    <a:pt x="18290" y="36476"/>
                    <a:pt x="17289" y="37009"/>
                  </a:cubicBezTo>
                  <a:lnTo>
                    <a:pt x="15205" y="38107"/>
                  </a:lnTo>
                  <a:cubicBezTo>
                    <a:pt x="10601" y="40514"/>
                    <a:pt x="6239" y="42792"/>
                    <a:pt x="2912" y="46200"/>
                  </a:cubicBezTo>
                  <a:cubicBezTo>
                    <a:pt x="1119" y="48042"/>
                    <a:pt x="-77" y="50691"/>
                    <a:pt x="4" y="52678"/>
                  </a:cubicBezTo>
                  <a:cubicBezTo>
                    <a:pt x="36" y="53599"/>
                    <a:pt x="343" y="54310"/>
                    <a:pt x="925" y="54827"/>
                  </a:cubicBezTo>
                  <a:cubicBezTo>
                    <a:pt x="2427" y="56168"/>
                    <a:pt x="4592" y="55619"/>
                    <a:pt x="8840" y="54148"/>
                  </a:cubicBezTo>
                  <a:cubicBezTo>
                    <a:pt x="11425" y="53244"/>
                    <a:pt x="14268" y="52258"/>
                    <a:pt x="17160" y="52258"/>
                  </a:cubicBezTo>
                  <a:cubicBezTo>
                    <a:pt x="18242" y="52258"/>
                    <a:pt x="19340" y="52404"/>
                    <a:pt x="20423" y="52727"/>
                  </a:cubicBezTo>
                  <a:cubicBezTo>
                    <a:pt x="26723" y="54649"/>
                    <a:pt x="29178" y="61903"/>
                    <a:pt x="28807" y="68219"/>
                  </a:cubicBezTo>
                  <a:lnTo>
                    <a:pt x="28839" y="6820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8" name="Free-form: Shape 337">
              <a:extLst>
                <a:ext uri="{FF2B5EF4-FFF2-40B4-BE49-F238E27FC236}">
                  <a16:creationId xmlns:a16="http://schemas.microsoft.com/office/drawing/2014/main" id="{488FD7DF-A381-AFFC-2D97-D1955CC49CDA}"/>
                </a:ext>
              </a:extLst>
            </p:cNvPr>
            <p:cNvSpPr/>
            <p:nvPr/>
          </p:nvSpPr>
          <p:spPr>
            <a:xfrm>
              <a:off x="5191755" y="3967868"/>
              <a:ext cx="10141" cy="18997"/>
            </a:xfrm>
            <a:custGeom>
              <a:avLst/>
              <a:gdLst>
                <a:gd name="connsiteX0" fmla="*/ 5650 w 10141"/>
                <a:gd name="connsiteY0" fmla="*/ 18981 h 18997"/>
                <a:gd name="connsiteX1" fmla="*/ 6022 w 10141"/>
                <a:gd name="connsiteY1" fmla="*/ 18739 h 18997"/>
                <a:gd name="connsiteX2" fmla="*/ 10125 w 10141"/>
                <a:gd name="connsiteY2" fmla="*/ 10597 h 18997"/>
                <a:gd name="connsiteX3" fmla="*/ 6862 w 10141"/>
                <a:gd name="connsiteY3" fmla="*/ 2084 h 18997"/>
                <a:gd name="connsiteX4" fmla="*/ 2758 w 10141"/>
                <a:gd name="connsiteY4" fmla="*/ 0 h 18997"/>
                <a:gd name="connsiteX5" fmla="*/ 2565 w 10141"/>
                <a:gd name="connsiteY5" fmla="*/ 0 h 18997"/>
                <a:gd name="connsiteX6" fmla="*/ 1595 w 10141"/>
                <a:gd name="connsiteY6" fmla="*/ 662 h 18997"/>
                <a:gd name="connsiteX7" fmla="*/ 1466 w 10141"/>
                <a:gd name="connsiteY7" fmla="*/ 840 h 18997"/>
                <a:gd name="connsiteX8" fmla="*/ 28 w 10141"/>
                <a:gd name="connsiteY8" fmla="*/ 4329 h 18997"/>
                <a:gd name="connsiteX9" fmla="*/ 5246 w 10141"/>
                <a:gd name="connsiteY9" fmla="*/ 18594 h 18997"/>
                <a:gd name="connsiteX10" fmla="*/ 5650 w 10141"/>
                <a:gd name="connsiteY10" fmla="*/ 18997 h 18997"/>
                <a:gd name="connsiteX11" fmla="*/ 5650 w 10141"/>
                <a:gd name="connsiteY11" fmla="*/ 18981 h 18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41" h="18997">
                  <a:moveTo>
                    <a:pt x="5650" y="18981"/>
                  </a:moveTo>
                  <a:cubicBezTo>
                    <a:pt x="5731" y="18933"/>
                    <a:pt x="5860" y="18852"/>
                    <a:pt x="6022" y="18739"/>
                  </a:cubicBezTo>
                  <a:cubicBezTo>
                    <a:pt x="8429" y="17043"/>
                    <a:pt x="9963" y="13990"/>
                    <a:pt x="10125" y="10597"/>
                  </a:cubicBezTo>
                  <a:cubicBezTo>
                    <a:pt x="10302" y="7205"/>
                    <a:pt x="9075" y="4022"/>
                    <a:pt x="6862" y="2084"/>
                  </a:cubicBezTo>
                  <a:cubicBezTo>
                    <a:pt x="5682" y="1050"/>
                    <a:pt x="3938" y="0"/>
                    <a:pt x="2758" y="0"/>
                  </a:cubicBezTo>
                  <a:cubicBezTo>
                    <a:pt x="2694" y="0"/>
                    <a:pt x="2629" y="0"/>
                    <a:pt x="2565" y="0"/>
                  </a:cubicBezTo>
                  <a:cubicBezTo>
                    <a:pt x="2387" y="16"/>
                    <a:pt x="2032" y="65"/>
                    <a:pt x="1595" y="662"/>
                  </a:cubicBezTo>
                  <a:cubicBezTo>
                    <a:pt x="1547" y="727"/>
                    <a:pt x="1515" y="776"/>
                    <a:pt x="1466" y="840"/>
                  </a:cubicBezTo>
                  <a:cubicBezTo>
                    <a:pt x="642" y="1793"/>
                    <a:pt x="93" y="3118"/>
                    <a:pt x="28" y="4329"/>
                  </a:cubicBezTo>
                  <a:cubicBezTo>
                    <a:pt x="-262" y="9499"/>
                    <a:pt x="1692" y="14830"/>
                    <a:pt x="5246" y="18594"/>
                  </a:cubicBezTo>
                  <a:cubicBezTo>
                    <a:pt x="5424" y="18787"/>
                    <a:pt x="5553" y="18917"/>
                    <a:pt x="5650" y="18997"/>
                  </a:cubicBezTo>
                  <a:lnTo>
                    <a:pt x="5650" y="1898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9" name="Free-form: Shape 338">
              <a:extLst>
                <a:ext uri="{FF2B5EF4-FFF2-40B4-BE49-F238E27FC236}">
                  <a16:creationId xmlns:a16="http://schemas.microsoft.com/office/drawing/2014/main" id="{5112E702-8BCB-2869-DF29-9C025BD1B7DC}"/>
                </a:ext>
              </a:extLst>
            </p:cNvPr>
            <p:cNvSpPr/>
            <p:nvPr/>
          </p:nvSpPr>
          <p:spPr>
            <a:xfrm>
              <a:off x="5351745" y="3173432"/>
              <a:ext cx="84468" cy="182876"/>
            </a:xfrm>
            <a:custGeom>
              <a:avLst/>
              <a:gdLst>
                <a:gd name="connsiteX0" fmla="*/ 41466 w 84468"/>
                <a:gd name="connsiteY0" fmla="*/ 602 h 182876"/>
                <a:gd name="connsiteX1" fmla="*/ 37007 w 84468"/>
                <a:gd name="connsiteY1" fmla="*/ 425 h 182876"/>
                <a:gd name="connsiteX2" fmla="*/ 31531 w 84468"/>
                <a:gd name="connsiteY2" fmla="*/ 5384 h 182876"/>
                <a:gd name="connsiteX3" fmla="*/ 29011 w 84468"/>
                <a:gd name="connsiteY3" fmla="*/ 8162 h 182876"/>
                <a:gd name="connsiteX4" fmla="*/ 16168 w 84468"/>
                <a:gd name="connsiteY4" fmla="*/ 17015 h 182876"/>
                <a:gd name="connsiteX5" fmla="*/ 12194 w 84468"/>
                <a:gd name="connsiteY5" fmla="*/ 19260 h 182876"/>
                <a:gd name="connsiteX6" fmla="*/ 434 w 84468"/>
                <a:gd name="connsiteY6" fmla="*/ 31489 h 182876"/>
                <a:gd name="connsiteX7" fmla="*/ 1516 w 84468"/>
                <a:gd name="connsiteY7" fmla="*/ 39938 h 182876"/>
                <a:gd name="connsiteX8" fmla="*/ 5813 w 84468"/>
                <a:gd name="connsiteY8" fmla="*/ 43072 h 182876"/>
                <a:gd name="connsiteX9" fmla="*/ 10789 w 84468"/>
                <a:gd name="connsiteY9" fmla="*/ 42830 h 182876"/>
                <a:gd name="connsiteX10" fmla="*/ 21612 w 84468"/>
                <a:gd name="connsiteY10" fmla="*/ 44671 h 182876"/>
                <a:gd name="connsiteX11" fmla="*/ 24423 w 84468"/>
                <a:gd name="connsiteY11" fmla="*/ 51359 h 182876"/>
                <a:gd name="connsiteX12" fmla="*/ 16491 w 84468"/>
                <a:gd name="connsiteY12" fmla="*/ 63781 h 182876"/>
                <a:gd name="connsiteX13" fmla="*/ 8705 w 84468"/>
                <a:gd name="connsiteY13" fmla="*/ 74282 h 182876"/>
                <a:gd name="connsiteX14" fmla="*/ 16911 w 84468"/>
                <a:gd name="connsiteY14" fmla="*/ 78272 h 182876"/>
                <a:gd name="connsiteX15" fmla="*/ 28865 w 84468"/>
                <a:gd name="connsiteY15" fmla="*/ 83861 h 182876"/>
                <a:gd name="connsiteX16" fmla="*/ 27622 w 84468"/>
                <a:gd name="connsiteY16" fmla="*/ 100403 h 182876"/>
                <a:gd name="connsiteX17" fmla="*/ 19157 w 84468"/>
                <a:gd name="connsiteY17" fmla="*/ 107608 h 182876"/>
                <a:gd name="connsiteX18" fmla="*/ 16217 w 84468"/>
                <a:gd name="connsiteY18" fmla="*/ 109692 h 182876"/>
                <a:gd name="connsiteX19" fmla="*/ 13050 w 84468"/>
                <a:gd name="connsiteY19" fmla="*/ 113730 h 182876"/>
                <a:gd name="connsiteX20" fmla="*/ 13794 w 84468"/>
                <a:gd name="connsiteY20" fmla="*/ 115346 h 182876"/>
                <a:gd name="connsiteX21" fmla="*/ 21483 w 84468"/>
                <a:gd name="connsiteY21" fmla="*/ 116880 h 182876"/>
                <a:gd name="connsiteX22" fmla="*/ 22420 w 84468"/>
                <a:gd name="connsiteY22" fmla="*/ 116735 h 182876"/>
                <a:gd name="connsiteX23" fmla="*/ 38493 w 84468"/>
                <a:gd name="connsiteY23" fmla="*/ 119885 h 182876"/>
                <a:gd name="connsiteX24" fmla="*/ 40383 w 84468"/>
                <a:gd name="connsiteY24" fmla="*/ 127187 h 182876"/>
                <a:gd name="connsiteX25" fmla="*/ 34342 w 84468"/>
                <a:gd name="connsiteY25" fmla="*/ 136895 h 182876"/>
                <a:gd name="connsiteX26" fmla="*/ 26733 w 84468"/>
                <a:gd name="connsiteY26" fmla="*/ 140853 h 182876"/>
                <a:gd name="connsiteX27" fmla="*/ 20918 w 84468"/>
                <a:gd name="connsiteY27" fmla="*/ 143712 h 182876"/>
                <a:gd name="connsiteX28" fmla="*/ 16427 w 84468"/>
                <a:gd name="connsiteY28" fmla="*/ 150223 h 182876"/>
                <a:gd name="connsiteX29" fmla="*/ 31563 w 84468"/>
                <a:gd name="connsiteY29" fmla="*/ 149011 h 182876"/>
                <a:gd name="connsiteX30" fmla="*/ 43485 w 84468"/>
                <a:gd name="connsiteY30" fmla="*/ 164180 h 182876"/>
                <a:gd name="connsiteX31" fmla="*/ 33873 w 84468"/>
                <a:gd name="connsiteY31" fmla="*/ 176279 h 182876"/>
                <a:gd name="connsiteX32" fmla="*/ 27250 w 84468"/>
                <a:gd name="connsiteY32" fmla="*/ 182806 h 182876"/>
                <a:gd name="connsiteX33" fmla="*/ 44955 w 84468"/>
                <a:gd name="connsiteY33" fmla="*/ 174131 h 182876"/>
                <a:gd name="connsiteX34" fmla="*/ 71609 w 84468"/>
                <a:gd name="connsiteY34" fmla="*/ 167944 h 182876"/>
                <a:gd name="connsiteX35" fmla="*/ 74727 w 84468"/>
                <a:gd name="connsiteY35" fmla="*/ 170383 h 182876"/>
                <a:gd name="connsiteX36" fmla="*/ 79961 w 84468"/>
                <a:gd name="connsiteY36" fmla="*/ 173210 h 182876"/>
                <a:gd name="connsiteX37" fmla="*/ 81253 w 84468"/>
                <a:gd name="connsiteY37" fmla="*/ 170803 h 182876"/>
                <a:gd name="connsiteX38" fmla="*/ 80300 w 84468"/>
                <a:gd name="connsiteY38" fmla="*/ 145974 h 182876"/>
                <a:gd name="connsiteX39" fmla="*/ 74501 w 84468"/>
                <a:gd name="connsiteY39" fmla="*/ 143276 h 182876"/>
                <a:gd name="connsiteX40" fmla="*/ 64324 w 84468"/>
                <a:gd name="connsiteY40" fmla="*/ 136443 h 182876"/>
                <a:gd name="connsiteX41" fmla="*/ 62402 w 84468"/>
                <a:gd name="connsiteY41" fmla="*/ 129933 h 182876"/>
                <a:gd name="connsiteX42" fmla="*/ 61465 w 84468"/>
                <a:gd name="connsiteY42" fmla="*/ 125943 h 182876"/>
                <a:gd name="connsiteX43" fmla="*/ 58557 w 84468"/>
                <a:gd name="connsiteY43" fmla="*/ 122050 h 182876"/>
                <a:gd name="connsiteX44" fmla="*/ 55601 w 84468"/>
                <a:gd name="connsiteY44" fmla="*/ 118383 h 182876"/>
                <a:gd name="connsiteX45" fmla="*/ 56602 w 84468"/>
                <a:gd name="connsiteY45" fmla="*/ 92665 h 182876"/>
                <a:gd name="connsiteX46" fmla="*/ 57507 w 84468"/>
                <a:gd name="connsiteY46" fmla="*/ 90016 h 182876"/>
                <a:gd name="connsiteX47" fmla="*/ 57442 w 84468"/>
                <a:gd name="connsiteY47" fmla="*/ 74072 h 182876"/>
                <a:gd name="connsiteX48" fmla="*/ 53226 w 84468"/>
                <a:gd name="connsiteY48" fmla="*/ 70421 h 182876"/>
                <a:gd name="connsiteX49" fmla="*/ 50690 w 84468"/>
                <a:gd name="connsiteY49" fmla="*/ 69936 h 182876"/>
                <a:gd name="connsiteX50" fmla="*/ 44519 w 84468"/>
                <a:gd name="connsiteY50" fmla="*/ 67901 h 182876"/>
                <a:gd name="connsiteX51" fmla="*/ 43291 w 84468"/>
                <a:gd name="connsiteY51" fmla="*/ 52166 h 182876"/>
                <a:gd name="connsiteX52" fmla="*/ 45779 w 84468"/>
                <a:gd name="connsiteY52" fmla="*/ 48580 h 182876"/>
                <a:gd name="connsiteX53" fmla="*/ 48654 w 84468"/>
                <a:gd name="connsiteY53" fmla="*/ 44219 h 182876"/>
                <a:gd name="connsiteX54" fmla="*/ 33906 w 84468"/>
                <a:gd name="connsiteY54" fmla="*/ 30148 h 182876"/>
                <a:gd name="connsiteX55" fmla="*/ 33857 w 84468"/>
                <a:gd name="connsiteY55" fmla="*/ 28210 h 182876"/>
                <a:gd name="connsiteX56" fmla="*/ 41886 w 84468"/>
                <a:gd name="connsiteY56" fmla="*/ 3962 h 182876"/>
                <a:gd name="connsiteX57" fmla="*/ 42370 w 84468"/>
                <a:gd name="connsiteY57" fmla="*/ 1846 h 182876"/>
                <a:gd name="connsiteX58" fmla="*/ 41450 w 84468"/>
                <a:gd name="connsiteY58" fmla="*/ 586 h 182876"/>
                <a:gd name="connsiteX59" fmla="*/ 41466 w 84468"/>
                <a:gd name="connsiteY59" fmla="*/ 602 h 18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84468" h="182876">
                  <a:moveTo>
                    <a:pt x="41466" y="602"/>
                  </a:moveTo>
                  <a:cubicBezTo>
                    <a:pt x="40222" y="-125"/>
                    <a:pt x="38316" y="-205"/>
                    <a:pt x="37007" y="425"/>
                  </a:cubicBezTo>
                  <a:cubicBezTo>
                    <a:pt x="34956" y="1426"/>
                    <a:pt x="33292" y="3349"/>
                    <a:pt x="31531" y="5384"/>
                  </a:cubicBezTo>
                  <a:cubicBezTo>
                    <a:pt x="30707" y="6337"/>
                    <a:pt x="29883" y="7290"/>
                    <a:pt x="29011" y="8162"/>
                  </a:cubicBezTo>
                  <a:cubicBezTo>
                    <a:pt x="25247" y="11991"/>
                    <a:pt x="20627" y="14543"/>
                    <a:pt x="16168" y="17015"/>
                  </a:cubicBezTo>
                  <a:cubicBezTo>
                    <a:pt x="14844" y="17758"/>
                    <a:pt x="13503" y="18485"/>
                    <a:pt x="12194" y="19260"/>
                  </a:cubicBezTo>
                  <a:cubicBezTo>
                    <a:pt x="5587" y="23170"/>
                    <a:pt x="1856" y="27047"/>
                    <a:pt x="434" y="31489"/>
                  </a:cubicBezTo>
                  <a:cubicBezTo>
                    <a:pt x="-422" y="34171"/>
                    <a:pt x="14" y="37482"/>
                    <a:pt x="1516" y="39938"/>
                  </a:cubicBezTo>
                  <a:cubicBezTo>
                    <a:pt x="2276" y="41166"/>
                    <a:pt x="3649" y="42716"/>
                    <a:pt x="5813" y="43072"/>
                  </a:cubicBezTo>
                  <a:cubicBezTo>
                    <a:pt x="7251" y="43298"/>
                    <a:pt x="8963" y="43072"/>
                    <a:pt x="10789" y="42830"/>
                  </a:cubicBezTo>
                  <a:cubicBezTo>
                    <a:pt x="14327" y="42345"/>
                    <a:pt x="18333" y="41812"/>
                    <a:pt x="21612" y="44671"/>
                  </a:cubicBezTo>
                  <a:cubicBezTo>
                    <a:pt x="23583" y="46383"/>
                    <a:pt x="24552" y="48693"/>
                    <a:pt x="24423" y="51359"/>
                  </a:cubicBezTo>
                  <a:cubicBezTo>
                    <a:pt x="24181" y="56221"/>
                    <a:pt x="20271" y="61100"/>
                    <a:pt x="16491" y="63781"/>
                  </a:cubicBezTo>
                  <a:cubicBezTo>
                    <a:pt x="12194" y="66835"/>
                    <a:pt x="7429" y="70792"/>
                    <a:pt x="8705" y="74282"/>
                  </a:cubicBezTo>
                  <a:cubicBezTo>
                    <a:pt x="9561" y="76608"/>
                    <a:pt x="12372" y="77351"/>
                    <a:pt x="16911" y="78272"/>
                  </a:cubicBezTo>
                  <a:cubicBezTo>
                    <a:pt x="21128" y="79128"/>
                    <a:pt x="25893" y="80113"/>
                    <a:pt x="28865" y="83861"/>
                  </a:cubicBezTo>
                  <a:cubicBezTo>
                    <a:pt x="32775" y="88804"/>
                    <a:pt x="31192" y="95912"/>
                    <a:pt x="27622" y="100403"/>
                  </a:cubicBezTo>
                  <a:cubicBezTo>
                    <a:pt x="25215" y="103424"/>
                    <a:pt x="22129" y="105556"/>
                    <a:pt x="19157" y="107608"/>
                  </a:cubicBezTo>
                  <a:cubicBezTo>
                    <a:pt x="18171" y="108286"/>
                    <a:pt x="17170" y="108981"/>
                    <a:pt x="16217" y="109692"/>
                  </a:cubicBezTo>
                  <a:cubicBezTo>
                    <a:pt x="14117" y="111259"/>
                    <a:pt x="13083" y="112583"/>
                    <a:pt x="13050" y="113730"/>
                  </a:cubicBezTo>
                  <a:cubicBezTo>
                    <a:pt x="13034" y="114376"/>
                    <a:pt x="13260" y="114861"/>
                    <a:pt x="13794" y="115346"/>
                  </a:cubicBezTo>
                  <a:cubicBezTo>
                    <a:pt x="15280" y="116654"/>
                    <a:pt x="18575" y="117317"/>
                    <a:pt x="21483" y="116880"/>
                  </a:cubicBezTo>
                  <a:lnTo>
                    <a:pt x="22420" y="116735"/>
                  </a:lnTo>
                  <a:cubicBezTo>
                    <a:pt x="27508" y="115943"/>
                    <a:pt x="34471" y="114861"/>
                    <a:pt x="38493" y="119885"/>
                  </a:cubicBezTo>
                  <a:cubicBezTo>
                    <a:pt x="40109" y="121904"/>
                    <a:pt x="40755" y="124424"/>
                    <a:pt x="40383" y="127187"/>
                  </a:cubicBezTo>
                  <a:cubicBezTo>
                    <a:pt x="39883" y="130838"/>
                    <a:pt x="37573" y="134553"/>
                    <a:pt x="34342" y="136895"/>
                  </a:cubicBezTo>
                  <a:cubicBezTo>
                    <a:pt x="31935" y="138640"/>
                    <a:pt x="29285" y="139771"/>
                    <a:pt x="26733" y="140853"/>
                  </a:cubicBezTo>
                  <a:cubicBezTo>
                    <a:pt x="24649" y="141742"/>
                    <a:pt x="22662" y="142582"/>
                    <a:pt x="20918" y="143712"/>
                  </a:cubicBezTo>
                  <a:cubicBezTo>
                    <a:pt x="18543" y="145247"/>
                    <a:pt x="16604" y="147880"/>
                    <a:pt x="16427" y="150223"/>
                  </a:cubicBezTo>
                  <a:cubicBezTo>
                    <a:pt x="21031" y="148946"/>
                    <a:pt x="26329" y="147864"/>
                    <a:pt x="31563" y="149011"/>
                  </a:cubicBezTo>
                  <a:cubicBezTo>
                    <a:pt x="38235" y="150481"/>
                    <a:pt x="44697" y="156700"/>
                    <a:pt x="43485" y="164180"/>
                  </a:cubicBezTo>
                  <a:cubicBezTo>
                    <a:pt x="42580" y="169769"/>
                    <a:pt x="37944" y="173226"/>
                    <a:pt x="33873" y="176279"/>
                  </a:cubicBezTo>
                  <a:cubicBezTo>
                    <a:pt x="30529" y="178783"/>
                    <a:pt x="28187" y="180657"/>
                    <a:pt x="27250" y="182806"/>
                  </a:cubicBezTo>
                  <a:cubicBezTo>
                    <a:pt x="33049" y="183516"/>
                    <a:pt x="39382" y="178767"/>
                    <a:pt x="44955" y="174131"/>
                  </a:cubicBezTo>
                  <a:cubicBezTo>
                    <a:pt x="55278" y="165537"/>
                    <a:pt x="64744" y="163340"/>
                    <a:pt x="71609" y="167944"/>
                  </a:cubicBezTo>
                  <a:cubicBezTo>
                    <a:pt x="72692" y="168671"/>
                    <a:pt x="73726" y="169543"/>
                    <a:pt x="74727" y="170383"/>
                  </a:cubicBezTo>
                  <a:cubicBezTo>
                    <a:pt x="77183" y="172451"/>
                    <a:pt x="79008" y="173856"/>
                    <a:pt x="79961" y="173210"/>
                  </a:cubicBezTo>
                  <a:cubicBezTo>
                    <a:pt x="80494" y="172839"/>
                    <a:pt x="80930" y="171659"/>
                    <a:pt x="81253" y="170803"/>
                  </a:cubicBezTo>
                  <a:cubicBezTo>
                    <a:pt x="84452" y="162161"/>
                    <a:pt x="86891" y="150820"/>
                    <a:pt x="80300" y="145974"/>
                  </a:cubicBezTo>
                  <a:cubicBezTo>
                    <a:pt x="78733" y="144827"/>
                    <a:pt x="76682" y="144068"/>
                    <a:pt x="74501" y="143276"/>
                  </a:cubicBezTo>
                  <a:cubicBezTo>
                    <a:pt x="70818" y="141936"/>
                    <a:pt x="66650" y="140433"/>
                    <a:pt x="64324" y="136443"/>
                  </a:cubicBezTo>
                  <a:cubicBezTo>
                    <a:pt x="63080" y="134311"/>
                    <a:pt x="62725" y="131984"/>
                    <a:pt x="62402" y="129933"/>
                  </a:cubicBezTo>
                  <a:cubicBezTo>
                    <a:pt x="62175" y="128463"/>
                    <a:pt x="61965" y="127074"/>
                    <a:pt x="61465" y="125943"/>
                  </a:cubicBezTo>
                  <a:cubicBezTo>
                    <a:pt x="60867" y="124586"/>
                    <a:pt x="59736" y="123358"/>
                    <a:pt x="58557" y="122050"/>
                  </a:cubicBezTo>
                  <a:cubicBezTo>
                    <a:pt x="57539" y="120935"/>
                    <a:pt x="56489" y="119772"/>
                    <a:pt x="55601" y="118383"/>
                  </a:cubicBezTo>
                  <a:cubicBezTo>
                    <a:pt x="50480" y="110419"/>
                    <a:pt x="53727" y="100985"/>
                    <a:pt x="56602" y="92665"/>
                  </a:cubicBezTo>
                  <a:cubicBezTo>
                    <a:pt x="56909" y="91777"/>
                    <a:pt x="57216" y="90888"/>
                    <a:pt x="57507" y="90016"/>
                  </a:cubicBezTo>
                  <a:cubicBezTo>
                    <a:pt x="59429" y="84265"/>
                    <a:pt x="59397" y="77852"/>
                    <a:pt x="57442" y="74072"/>
                  </a:cubicBezTo>
                  <a:cubicBezTo>
                    <a:pt x="56473" y="72182"/>
                    <a:pt x="55084" y="70986"/>
                    <a:pt x="53226" y="70421"/>
                  </a:cubicBezTo>
                  <a:cubicBezTo>
                    <a:pt x="52483" y="70195"/>
                    <a:pt x="51611" y="70065"/>
                    <a:pt x="50690" y="69936"/>
                  </a:cubicBezTo>
                  <a:cubicBezTo>
                    <a:pt x="48735" y="69645"/>
                    <a:pt x="46506" y="69322"/>
                    <a:pt x="44519" y="67901"/>
                  </a:cubicBezTo>
                  <a:cubicBezTo>
                    <a:pt x="39624" y="64363"/>
                    <a:pt x="40238" y="57158"/>
                    <a:pt x="43291" y="52166"/>
                  </a:cubicBezTo>
                  <a:cubicBezTo>
                    <a:pt x="44067" y="50907"/>
                    <a:pt x="44939" y="49727"/>
                    <a:pt x="45779" y="48580"/>
                  </a:cubicBezTo>
                  <a:cubicBezTo>
                    <a:pt x="46877" y="47094"/>
                    <a:pt x="47927" y="45672"/>
                    <a:pt x="48654" y="44219"/>
                  </a:cubicBezTo>
                  <a:cubicBezTo>
                    <a:pt x="42807" y="41682"/>
                    <a:pt x="36361" y="36658"/>
                    <a:pt x="33906" y="30148"/>
                  </a:cubicBezTo>
                  <a:cubicBezTo>
                    <a:pt x="33663" y="29518"/>
                    <a:pt x="33647" y="28840"/>
                    <a:pt x="33857" y="28210"/>
                  </a:cubicBezTo>
                  <a:lnTo>
                    <a:pt x="41886" y="3962"/>
                  </a:lnTo>
                  <a:cubicBezTo>
                    <a:pt x="42144" y="3203"/>
                    <a:pt x="42403" y="2395"/>
                    <a:pt x="42370" y="1846"/>
                  </a:cubicBezTo>
                  <a:cubicBezTo>
                    <a:pt x="42370" y="1669"/>
                    <a:pt x="42338" y="1103"/>
                    <a:pt x="41450" y="586"/>
                  </a:cubicBezTo>
                  <a:lnTo>
                    <a:pt x="41466" y="60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0" name="Free-form: Shape 339">
              <a:extLst>
                <a:ext uri="{FF2B5EF4-FFF2-40B4-BE49-F238E27FC236}">
                  <a16:creationId xmlns:a16="http://schemas.microsoft.com/office/drawing/2014/main" id="{E3BAC23A-AEEB-A8A0-EE97-86FB5605AD2C}"/>
                </a:ext>
              </a:extLst>
            </p:cNvPr>
            <p:cNvSpPr/>
            <p:nvPr/>
          </p:nvSpPr>
          <p:spPr>
            <a:xfrm>
              <a:off x="5389711" y="3615642"/>
              <a:ext cx="16071" cy="25839"/>
            </a:xfrm>
            <a:custGeom>
              <a:avLst/>
              <a:gdLst>
                <a:gd name="connsiteX0" fmla="*/ 3451 w 16071"/>
                <a:gd name="connsiteY0" fmla="*/ 25443 h 25839"/>
                <a:gd name="connsiteX1" fmla="*/ 7005 w 16071"/>
                <a:gd name="connsiteY1" fmla="*/ 25717 h 25839"/>
                <a:gd name="connsiteX2" fmla="*/ 16067 w 16071"/>
                <a:gd name="connsiteY2" fmla="*/ 14684 h 25839"/>
                <a:gd name="connsiteX3" fmla="*/ 11900 w 16071"/>
                <a:gd name="connsiteY3" fmla="*/ 0 h 25839"/>
                <a:gd name="connsiteX4" fmla="*/ 10 w 16071"/>
                <a:gd name="connsiteY4" fmla="*/ 16800 h 25839"/>
                <a:gd name="connsiteX5" fmla="*/ 3467 w 16071"/>
                <a:gd name="connsiteY5" fmla="*/ 25443 h 25839"/>
                <a:gd name="connsiteX6" fmla="*/ 3451 w 16071"/>
                <a:gd name="connsiteY6" fmla="*/ 25443 h 2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" h="25839">
                  <a:moveTo>
                    <a:pt x="3451" y="25443"/>
                  </a:moveTo>
                  <a:cubicBezTo>
                    <a:pt x="4630" y="25960"/>
                    <a:pt x="6036" y="25879"/>
                    <a:pt x="7005" y="25717"/>
                  </a:cubicBezTo>
                  <a:cubicBezTo>
                    <a:pt x="12061" y="24861"/>
                    <a:pt x="16213" y="19805"/>
                    <a:pt x="16067" y="14684"/>
                  </a:cubicBezTo>
                  <a:cubicBezTo>
                    <a:pt x="15922" y="9822"/>
                    <a:pt x="15680" y="856"/>
                    <a:pt x="11900" y="0"/>
                  </a:cubicBezTo>
                  <a:cubicBezTo>
                    <a:pt x="4792" y="1050"/>
                    <a:pt x="285" y="9289"/>
                    <a:pt x="10" y="16800"/>
                  </a:cubicBezTo>
                  <a:cubicBezTo>
                    <a:pt x="-103" y="20031"/>
                    <a:pt x="721" y="24231"/>
                    <a:pt x="3467" y="25443"/>
                  </a:cubicBezTo>
                  <a:lnTo>
                    <a:pt x="3451" y="254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1" name="Free-form: Shape 340">
              <a:extLst>
                <a:ext uri="{FF2B5EF4-FFF2-40B4-BE49-F238E27FC236}">
                  <a16:creationId xmlns:a16="http://schemas.microsoft.com/office/drawing/2014/main" id="{C1CF7DB7-039D-DA20-6F98-373CD8A2DA46}"/>
                </a:ext>
              </a:extLst>
            </p:cNvPr>
            <p:cNvSpPr/>
            <p:nvPr/>
          </p:nvSpPr>
          <p:spPr>
            <a:xfrm>
              <a:off x="5520261" y="2634710"/>
              <a:ext cx="9794" cy="12018"/>
            </a:xfrm>
            <a:custGeom>
              <a:avLst/>
              <a:gdLst>
                <a:gd name="connsiteX0" fmla="*/ 3523 w 9794"/>
                <a:gd name="connsiteY0" fmla="*/ 16 h 12018"/>
                <a:gd name="connsiteX1" fmla="*/ 3071 w 9794"/>
                <a:gd name="connsiteY1" fmla="*/ 32 h 12018"/>
                <a:gd name="connsiteX2" fmla="*/ 163 w 9794"/>
                <a:gd name="connsiteY2" fmla="*/ 2892 h 12018"/>
                <a:gd name="connsiteX3" fmla="*/ 567 w 9794"/>
                <a:gd name="connsiteY3" fmla="*/ 5315 h 12018"/>
                <a:gd name="connsiteX4" fmla="*/ 793 w 9794"/>
                <a:gd name="connsiteY4" fmla="*/ 5525 h 12018"/>
                <a:gd name="connsiteX5" fmla="*/ 1019 w 9794"/>
                <a:gd name="connsiteY5" fmla="*/ 5751 h 12018"/>
                <a:gd name="connsiteX6" fmla="*/ 8402 w 9794"/>
                <a:gd name="connsiteY6" fmla="*/ 12019 h 12018"/>
                <a:gd name="connsiteX7" fmla="*/ 9646 w 9794"/>
                <a:gd name="connsiteY7" fmla="*/ 6122 h 12018"/>
                <a:gd name="connsiteX8" fmla="*/ 3523 w 9794"/>
                <a:gd name="connsiteY8" fmla="*/ 0 h 12018"/>
                <a:gd name="connsiteX9" fmla="*/ 3523 w 9794"/>
                <a:gd name="connsiteY9" fmla="*/ 16 h 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94" h="12018">
                  <a:moveTo>
                    <a:pt x="3523" y="16"/>
                  </a:moveTo>
                  <a:cubicBezTo>
                    <a:pt x="3378" y="16"/>
                    <a:pt x="3216" y="16"/>
                    <a:pt x="3071" y="32"/>
                  </a:cubicBezTo>
                  <a:cubicBezTo>
                    <a:pt x="1682" y="178"/>
                    <a:pt x="551" y="1583"/>
                    <a:pt x="163" y="2892"/>
                  </a:cubicBezTo>
                  <a:cubicBezTo>
                    <a:pt x="18" y="3392"/>
                    <a:pt x="-257" y="4636"/>
                    <a:pt x="567" y="5315"/>
                  </a:cubicBezTo>
                  <a:cubicBezTo>
                    <a:pt x="648" y="5379"/>
                    <a:pt x="729" y="5460"/>
                    <a:pt x="793" y="5525"/>
                  </a:cubicBezTo>
                  <a:lnTo>
                    <a:pt x="1019" y="5751"/>
                  </a:lnTo>
                  <a:cubicBezTo>
                    <a:pt x="5494" y="10371"/>
                    <a:pt x="7530" y="11679"/>
                    <a:pt x="8402" y="12019"/>
                  </a:cubicBezTo>
                  <a:cubicBezTo>
                    <a:pt x="9581" y="10597"/>
                    <a:pt x="10066" y="8368"/>
                    <a:pt x="9646" y="6122"/>
                  </a:cubicBezTo>
                  <a:cubicBezTo>
                    <a:pt x="9096" y="3118"/>
                    <a:pt x="6496" y="0"/>
                    <a:pt x="3523" y="0"/>
                  </a:cubicBezTo>
                  <a:lnTo>
                    <a:pt x="3523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2" name="Free-form: Shape 341">
              <a:extLst>
                <a:ext uri="{FF2B5EF4-FFF2-40B4-BE49-F238E27FC236}">
                  <a16:creationId xmlns:a16="http://schemas.microsoft.com/office/drawing/2014/main" id="{4BECD9D1-9631-3C35-BBE2-0402BA2C3D24}"/>
                </a:ext>
              </a:extLst>
            </p:cNvPr>
            <p:cNvSpPr/>
            <p:nvPr/>
          </p:nvSpPr>
          <p:spPr>
            <a:xfrm>
              <a:off x="5490451" y="2834959"/>
              <a:ext cx="13079" cy="30560"/>
            </a:xfrm>
            <a:custGeom>
              <a:avLst/>
              <a:gdLst>
                <a:gd name="connsiteX0" fmla="*/ 8730 w 13079"/>
                <a:gd name="connsiteY0" fmla="*/ 13456 h 30560"/>
                <a:gd name="connsiteX1" fmla="*/ 4934 w 13079"/>
                <a:gd name="connsiteY1" fmla="*/ 49 h 30560"/>
                <a:gd name="connsiteX2" fmla="*/ 4579 w 13079"/>
                <a:gd name="connsiteY2" fmla="*/ 0 h 30560"/>
                <a:gd name="connsiteX3" fmla="*/ 4353 w 13079"/>
                <a:gd name="connsiteY3" fmla="*/ 0 h 30560"/>
                <a:gd name="connsiteX4" fmla="*/ 1396 w 13079"/>
                <a:gd name="connsiteY4" fmla="*/ 1405 h 30560"/>
                <a:gd name="connsiteX5" fmla="*/ 104 w 13079"/>
                <a:gd name="connsiteY5" fmla="*/ 10290 h 30560"/>
                <a:gd name="connsiteX6" fmla="*/ 702 w 13079"/>
                <a:gd name="connsiteY6" fmla="*/ 20887 h 30560"/>
                <a:gd name="connsiteX7" fmla="*/ 2721 w 13079"/>
                <a:gd name="connsiteY7" fmla="*/ 28819 h 30560"/>
                <a:gd name="connsiteX8" fmla="*/ 9861 w 13079"/>
                <a:gd name="connsiteY8" fmla="*/ 29740 h 30560"/>
                <a:gd name="connsiteX9" fmla="*/ 12979 w 13079"/>
                <a:gd name="connsiteY9" fmla="*/ 22390 h 30560"/>
                <a:gd name="connsiteX10" fmla="*/ 10265 w 13079"/>
                <a:gd name="connsiteY10" fmla="*/ 16219 h 30560"/>
                <a:gd name="connsiteX11" fmla="*/ 8747 w 13079"/>
                <a:gd name="connsiteY11" fmla="*/ 13456 h 30560"/>
                <a:gd name="connsiteX12" fmla="*/ 8730 w 13079"/>
                <a:gd name="connsiteY12" fmla="*/ 13456 h 3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79" h="30560">
                  <a:moveTo>
                    <a:pt x="8730" y="13456"/>
                  </a:moveTo>
                  <a:cubicBezTo>
                    <a:pt x="6291" y="8659"/>
                    <a:pt x="4240" y="3796"/>
                    <a:pt x="4934" y="49"/>
                  </a:cubicBezTo>
                  <a:cubicBezTo>
                    <a:pt x="4821" y="32"/>
                    <a:pt x="4708" y="0"/>
                    <a:pt x="4579" y="0"/>
                  </a:cubicBezTo>
                  <a:cubicBezTo>
                    <a:pt x="4498" y="0"/>
                    <a:pt x="4433" y="0"/>
                    <a:pt x="4353" y="0"/>
                  </a:cubicBezTo>
                  <a:cubicBezTo>
                    <a:pt x="3222" y="0"/>
                    <a:pt x="1994" y="582"/>
                    <a:pt x="1396" y="1405"/>
                  </a:cubicBezTo>
                  <a:cubicBezTo>
                    <a:pt x="-138" y="3554"/>
                    <a:pt x="-106" y="6704"/>
                    <a:pt x="104" y="10290"/>
                  </a:cubicBezTo>
                  <a:lnTo>
                    <a:pt x="702" y="20887"/>
                  </a:lnTo>
                  <a:cubicBezTo>
                    <a:pt x="896" y="24167"/>
                    <a:pt x="1170" y="27026"/>
                    <a:pt x="2721" y="28819"/>
                  </a:cubicBezTo>
                  <a:cubicBezTo>
                    <a:pt x="4337" y="30709"/>
                    <a:pt x="7600" y="31129"/>
                    <a:pt x="9861" y="29740"/>
                  </a:cubicBezTo>
                  <a:cubicBezTo>
                    <a:pt x="12155" y="28335"/>
                    <a:pt x="13464" y="25249"/>
                    <a:pt x="12979" y="22390"/>
                  </a:cubicBezTo>
                  <a:cubicBezTo>
                    <a:pt x="12624" y="20338"/>
                    <a:pt x="11477" y="18335"/>
                    <a:pt x="10265" y="16219"/>
                  </a:cubicBezTo>
                  <a:cubicBezTo>
                    <a:pt x="9748" y="15298"/>
                    <a:pt x="9215" y="14393"/>
                    <a:pt x="8747" y="13456"/>
                  </a:cubicBezTo>
                  <a:lnTo>
                    <a:pt x="8730" y="134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3" name="Free-form: Shape 342">
              <a:extLst>
                <a:ext uri="{FF2B5EF4-FFF2-40B4-BE49-F238E27FC236}">
                  <a16:creationId xmlns:a16="http://schemas.microsoft.com/office/drawing/2014/main" id="{5505B46D-E1B1-3CAA-9616-A7352976D508}"/>
                </a:ext>
              </a:extLst>
            </p:cNvPr>
            <p:cNvSpPr/>
            <p:nvPr/>
          </p:nvSpPr>
          <p:spPr>
            <a:xfrm>
              <a:off x="5730898" y="2317134"/>
              <a:ext cx="267661" cy="182497"/>
            </a:xfrm>
            <a:custGeom>
              <a:avLst/>
              <a:gdLst>
                <a:gd name="connsiteX0" fmla="*/ 27171 w 267661"/>
                <a:gd name="connsiteY0" fmla="*/ 132966 h 182497"/>
                <a:gd name="connsiteX1" fmla="*/ 24619 w 267661"/>
                <a:gd name="connsiteY1" fmla="*/ 133773 h 182497"/>
                <a:gd name="connsiteX2" fmla="*/ 21194 w 267661"/>
                <a:gd name="connsiteY2" fmla="*/ 137424 h 182497"/>
                <a:gd name="connsiteX3" fmla="*/ 22632 w 267661"/>
                <a:gd name="connsiteY3" fmla="*/ 139314 h 182497"/>
                <a:gd name="connsiteX4" fmla="*/ 40692 w 267661"/>
                <a:gd name="connsiteY4" fmla="*/ 158150 h 182497"/>
                <a:gd name="connsiteX5" fmla="*/ 50207 w 267661"/>
                <a:gd name="connsiteY5" fmla="*/ 166292 h 182497"/>
                <a:gd name="connsiteX6" fmla="*/ 61871 w 267661"/>
                <a:gd name="connsiteY6" fmla="*/ 169862 h 182497"/>
                <a:gd name="connsiteX7" fmla="*/ 63858 w 267661"/>
                <a:gd name="connsiteY7" fmla="*/ 170282 h 182497"/>
                <a:gd name="connsiteX8" fmla="*/ 85860 w 267661"/>
                <a:gd name="connsiteY8" fmla="*/ 176889 h 182497"/>
                <a:gd name="connsiteX9" fmla="*/ 88751 w 267661"/>
                <a:gd name="connsiteY9" fmla="*/ 178036 h 182497"/>
                <a:gd name="connsiteX10" fmla="*/ 101158 w 267661"/>
                <a:gd name="connsiteY10" fmla="*/ 182058 h 182497"/>
                <a:gd name="connsiteX11" fmla="*/ 117102 w 267661"/>
                <a:gd name="connsiteY11" fmla="*/ 181800 h 182497"/>
                <a:gd name="connsiteX12" fmla="*/ 192477 w 267661"/>
                <a:gd name="connsiteY12" fmla="*/ 173981 h 182497"/>
                <a:gd name="connsiteX13" fmla="*/ 206241 w 267661"/>
                <a:gd name="connsiteY13" fmla="*/ 171235 h 182497"/>
                <a:gd name="connsiteX14" fmla="*/ 216531 w 267661"/>
                <a:gd name="connsiteY14" fmla="*/ 164644 h 182497"/>
                <a:gd name="connsiteX15" fmla="*/ 257256 w 267661"/>
                <a:gd name="connsiteY15" fmla="*/ 128539 h 182497"/>
                <a:gd name="connsiteX16" fmla="*/ 267255 w 267661"/>
                <a:gd name="connsiteY16" fmla="*/ 107507 h 182497"/>
                <a:gd name="connsiteX17" fmla="*/ 261004 w 267661"/>
                <a:gd name="connsiteY17" fmla="*/ 98299 h 182497"/>
                <a:gd name="connsiteX18" fmla="*/ 258936 w 267661"/>
                <a:gd name="connsiteY18" fmla="*/ 95989 h 182497"/>
                <a:gd name="connsiteX19" fmla="*/ 246804 w 267661"/>
                <a:gd name="connsiteY19" fmla="*/ 72969 h 182497"/>
                <a:gd name="connsiteX20" fmla="*/ 245512 w 267661"/>
                <a:gd name="connsiteY20" fmla="*/ 67299 h 182497"/>
                <a:gd name="connsiteX21" fmla="*/ 242959 w 267661"/>
                <a:gd name="connsiteY21" fmla="*/ 57784 h 182497"/>
                <a:gd name="connsiteX22" fmla="*/ 231506 w 267661"/>
                <a:gd name="connsiteY22" fmla="*/ 41614 h 182497"/>
                <a:gd name="connsiteX23" fmla="*/ 199650 w 267661"/>
                <a:gd name="connsiteY23" fmla="*/ 22196 h 182497"/>
                <a:gd name="connsiteX24" fmla="*/ 196823 w 267661"/>
                <a:gd name="connsiteY24" fmla="*/ 22519 h 182497"/>
                <a:gd name="connsiteX25" fmla="*/ 183415 w 267661"/>
                <a:gd name="connsiteY25" fmla="*/ 20032 h 182497"/>
                <a:gd name="connsiteX26" fmla="*/ 179926 w 267661"/>
                <a:gd name="connsiteY26" fmla="*/ 12924 h 182497"/>
                <a:gd name="connsiteX27" fmla="*/ 179328 w 267661"/>
                <a:gd name="connsiteY27" fmla="*/ 10904 h 182497"/>
                <a:gd name="connsiteX28" fmla="*/ 164321 w 267661"/>
                <a:gd name="connsiteY28" fmla="*/ 33 h 182497"/>
                <a:gd name="connsiteX29" fmla="*/ 146373 w 267661"/>
                <a:gd name="connsiteY29" fmla="*/ 8110 h 182497"/>
                <a:gd name="connsiteX30" fmla="*/ 140429 w 267661"/>
                <a:gd name="connsiteY30" fmla="*/ 17172 h 182497"/>
                <a:gd name="connsiteX31" fmla="*/ 129363 w 267661"/>
                <a:gd name="connsiteY31" fmla="*/ 31210 h 182497"/>
                <a:gd name="connsiteX32" fmla="*/ 115599 w 267661"/>
                <a:gd name="connsiteY32" fmla="*/ 36687 h 182497"/>
                <a:gd name="connsiteX33" fmla="*/ 104954 w 267661"/>
                <a:gd name="connsiteY33" fmla="*/ 40467 h 182497"/>
                <a:gd name="connsiteX34" fmla="*/ 93387 w 267661"/>
                <a:gd name="connsiteY34" fmla="*/ 51758 h 182497"/>
                <a:gd name="connsiteX35" fmla="*/ 73631 w 267661"/>
                <a:gd name="connsiteY35" fmla="*/ 66346 h 182497"/>
                <a:gd name="connsiteX36" fmla="*/ 65941 w 267661"/>
                <a:gd name="connsiteY36" fmla="*/ 66297 h 182497"/>
                <a:gd name="connsiteX37" fmla="*/ 60821 w 267661"/>
                <a:gd name="connsiteY37" fmla="*/ 66087 h 182497"/>
                <a:gd name="connsiteX38" fmla="*/ 51047 w 267661"/>
                <a:gd name="connsiteY38" fmla="*/ 68446 h 182497"/>
                <a:gd name="connsiteX39" fmla="*/ 42873 w 267661"/>
                <a:gd name="connsiteY39" fmla="*/ 70740 h 182497"/>
                <a:gd name="connsiteX40" fmla="*/ 26735 w 267661"/>
                <a:gd name="connsiteY40" fmla="*/ 70578 h 182497"/>
                <a:gd name="connsiteX41" fmla="*/ 19547 w 267661"/>
                <a:gd name="connsiteY41" fmla="*/ 69964 h 182497"/>
                <a:gd name="connsiteX42" fmla="*/ 1696 w 267661"/>
                <a:gd name="connsiteY42" fmla="*/ 76410 h 182497"/>
                <a:gd name="connsiteX43" fmla="*/ 888 w 267661"/>
                <a:gd name="connsiteY43" fmla="*/ 77702 h 182497"/>
                <a:gd name="connsiteX44" fmla="*/ 0 w 267661"/>
                <a:gd name="connsiteY44" fmla="*/ 78607 h 182497"/>
                <a:gd name="connsiteX45" fmla="*/ 3312 w 267661"/>
                <a:gd name="connsiteY45" fmla="*/ 88057 h 182497"/>
                <a:gd name="connsiteX46" fmla="*/ 3328 w 267661"/>
                <a:gd name="connsiteY46" fmla="*/ 88057 h 182497"/>
                <a:gd name="connsiteX47" fmla="*/ 25911 w 267661"/>
                <a:gd name="connsiteY47" fmla="*/ 104082 h 182497"/>
                <a:gd name="connsiteX48" fmla="*/ 36008 w 267661"/>
                <a:gd name="connsiteY48" fmla="*/ 113888 h 182497"/>
                <a:gd name="connsiteX49" fmla="*/ 34538 w 267661"/>
                <a:gd name="connsiteY49" fmla="*/ 129379 h 182497"/>
                <a:gd name="connsiteX50" fmla="*/ 27171 w 267661"/>
                <a:gd name="connsiteY50" fmla="*/ 132933 h 182497"/>
                <a:gd name="connsiteX51" fmla="*/ 27171 w 267661"/>
                <a:gd name="connsiteY51" fmla="*/ 132966 h 182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7661" h="182497">
                  <a:moveTo>
                    <a:pt x="27171" y="132966"/>
                  </a:moveTo>
                  <a:cubicBezTo>
                    <a:pt x="26315" y="133224"/>
                    <a:pt x="25443" y="133466"/>
                    <a:pt x="24619" y="133773"/>
                  </a:cubicBezTo>
                  <a:cubicBezTo>
                    <a:pt x="22745" y="134484"/>
                    <a:pt x="20823" y="136229"/>
                    <a:pt x="21194" y="137424"/>
                  </a:cubicBezTo>
                  <a:cubicBezTo>
                    <a:pt x="21372" y="137990"/>
                    <a:pt x="22034" y="138684"/>
                    <a:pt x="22632" y="139314"/>
                  </a:cubicBezTo>
                  <a:lnTo>
                    <a:pt x="40692" y="158150"/>
                  </a:lnTo>
                  <a:cubicBezTo>
                    <a:pt x="43616" y="161187"/>
                    <a:pt x="46637" y="164337"/>
                    <a:pt x="50207" y="166292"/>
                  </a:cubicBezTo>
                  <a:cubicBezTo>
                    <a:pt x="53664" y="168182"/>
                    <a:pt x="57654" y="169006"/>
                    <a:pt x="61871" y="169862"/>
                  </a:cubicBezTo>
                  <a:lnTo>
                    <a:pt x="63858" y="170282"/>
                  </a:lnTo>
                  <a:cubicBezTo>
                    <a:pt x="71337" y="171881"/>
                    <a:pt x="78736" y="174094"/>
                    <a:pt x="85860" y="176889"/>
                  </a:cubicBezTo>
                  <a:cubicBezTo>
                    <a:pt x="86829" y="177261"/>
                    <a:pt x="87782" y="177648"/>
                    <a:pt x="88751" y="178036"/>
                  </a:cubicBezTo>
                  <a:cubicBezTo>
                    <a:pt x="92967" y="179748"/>
                    <a:pt x="96958" y="181347"/>
                    <a:pt x="101158" y="182058"/>
                  </a:cubicBezTo>
                  <a:cubicBezTo>
                    <a:pt x="106327" y="182914"/>
                    <a:pt x="111803" y="182349"/>
                    <a:pt x="117102" y="181800"/>
                  </a:cubicBezTo>
                  <a:lnTo>
                    <a:pt x="192477" y="173981"/>
                  </a:lnTo>
                  <a:cubicBezTo>
                    <a:pt x="197162" y="173497"/>
                    <a:pt x="201992" y="172996"/>
                    <a:pt x="206241" y="171235"/>
                  </a:cubicBezTo>
                  <a:cubicBezTo>
                    <a:pt x="209859" y="169733"/>
                    <a:pt x="213042" y="167358"/>
                    <a:pt x="216531" y="164644"/>
                  </a:cubicBezTo>
                  <a:cubicBezTo>
                    <a:pt x="230795" y="153514"/>
                    <a:pt x="244510" y="141366"/>
                    <a:pt x="257256" y="128539"/>
                  </a:cubicBezTo>
                  <a:cubicBezTo>
                    <a:pt x="262587" y="123176"/>
                    <a:pt x="269404" y="115164"/>
                    <a:pt x="267255" y="107507"/>
                  </a:cubicBezTo>
                  <a:cubicBezTo>
                    <a:pt x="266302" y="104130"/>
                    <a:pt x="263734" y="101303"/>
                    <a:pt x="261004" y="98299"/>
                  </a:cubicBezTo>
                  <a:cubicBezTo>
                    <a:pt x="260309" y="97523"/>
                    <a:pt x="259614" y="96764"/>
                    <a:pt x="258936" y="95989"/>
                  </a:cubicBezTo>
                  <a:cubicBezTo>
                    <a:pt x="253217" y="89382"/>
                    <a:pt x="249017" y="81418"/>
                    <a:pt x="246804" y="72969"/>
                  </a:cubicBezTo>
                  <a:cubicBezTo>
                    <a:pt x="246319" y="71095"/>
                    <a:pt x="245915" y="69189"/>
                    <a:pt x="245512" y="67299"/>
                  </a:cubicBezTo>
                  <a:cubicBezTo>
                    <a:pt x="244817" y="63939"/>
                    <a:pt x="244155" y="60756"/>
                    <a:pt x="242959" y="57784"/>
                  </a:cubicBezTo>
                  <a:cubicBezTo>
                    <a:pt x="240536" y="51710"/>
                    <a:pt x="235948" y="46573"/>
                    <a:pt x="231506" y="41614"/>
                  </a:cubicBezTo>
                  <a:cubicBezTo>
                    <a:pt x="222637" y="31711"/>
                    <a:pt x="212137" y="21211"/>
                    <a:pt x="199650" y="22196"/>
                  </a:cubicBezTo>
                  <a:cubicBezTo>
                    <a:pt x="198729" y="22261"/>
                    <a:pt x="197792" y="22390"/>
                    <a:pt x="196823" y="22519"/>
                  </a:cubicBezTo>
                  <a:cubicBezTo>
                    <a:pt x="192526" y="23069"/>
                    <a:pt x="187195" y="23747"/>
                    <a:pt x="183415" y="20032"/>
                  </a:cubicBezTo>
                  <a:cubicBezTo>
                    <a:pt x="181315" y="17964"/>
                    <a:pt x="180572" y="15282"/>
                    <a:pt x="179926" y="12924"/>
                  </a:cubicBezTo>
                  <a:cubicBezTo>
                    <a:pt x="179732" y="12245"/>
                    <a:pt x="179554" y="11567"/>
                    <a:pt x="179328" y="10904"/>
                  </a:cubicBezTo>
                  <a:cubicBezTo>
                    <a:pt x="177292" y="4927"/>
                    <a:pt x="171121" y="453"/>
                    <a:pt x="164321" y="33"/>
                  </a:cubicBezTo>
                  <a:cubicBezTo>
                    <a:pt x="157891" y="-355"/>
                    <a:pt x="151009" y="2730"/>
                    <a:pt x="146373" y="8110"/>
                  </a:cubicBezTo>
                  <a:cubicBezTo>
                    <a:pt x="144096" y="10759"/>
                    <a:pt x="142319" y="13877"/>
                    <a:pt x="140429" y="17172"/>
                  </a:cubicBezTo>
                  <a:cubicBezTo>
                    <a:pt x="137505" y="22293"/>
                    <a:pt x="134468" y="27592"/>
                    <a:pt x="129363" y="31210"/>
                  </a:cubicBezTo>
                  <a:cubicBezTo>
                    <a:pt x="125147" y="34183"/>
                    <a:pt x="120284" y="35459"/>
                    <a:pt x="115599" y="36687"/>
                  </a:cubicBezTo>
                  <a:cubicBezTo>
                    <a:pt x="111739" y="37688"/>
                    <a:pt x="108088" y="38641"/>
                    <a:pt x="104954" y="40467"/>
                  </a:cubicBezTo>
                  <a:cubicBezTo>
                    <a:pt x="100528" y="43035"/>
                    <a:pt x="96893" y="47478"/>
                    <a:pt x="93387" y="51758"/>
                  </a:cubicBezTo>
                  <a:cubicBezTo>
                    <a:pt x="88040" y="58301"/>
                    <a:pt x="82500" y="65086"/>
                    <a:pt x="73631" y="66346"/>
                  </a:cubicBezTo>
                  <a:cubicBezTo>
                    <a:pt x="70965" y="66717"/>
                    <a:pt x="68413" y="66507"/>
                    <a:pt x="65941" y="66297"/>
                  </a:cubicBezTo>
                  <a:cubicBezTo>
                    <a:pt x="64148" y="66152"/>
                    <a:pt x="62452" y="66006"/>
                    <a:pt x="60821" y="66087"/>
                  </a:cubicBezTo>
                  <a:cubicBezTo>
                    <a:pt x="57590" y="66249"/>
                    <a:pt x="54407" y="67315"/>
                    <a:pt x="51047" y="68446"/>
                  </a:cubicBezTo>
                  <a:cubicBezTo>
                    <a:pt x="48430" y="69318"/>
                    <a:pt x="45733" y="70223"/>
                    <a:pt x="42873" y="70740"/>
                  </a:cubicBezTo>
                  <a:cubicBezTo>
                    <a:pt x="37413" y="71709"/>
                    <a:pt x="31985" y="71144"/>
                    <a:pt x="26735" y="70578"/>
                  </a:cubicBezTo>
                  <a:cubicBezTo>
                    <a:pt x="24361" y="70320"/>
                    <a:pt x="21905" y="70061"/>
                    <a:pt x="19547" y="69964"/>
                  </a:cubicBezTo>
                  <a:cubicBezTo>
                    <a:pt x="15605" y="69787"/>
                    <a:pt x="5977" y="70093"/>
                    <a:pt x="1696" y="76410"/>
                  </a:cubicBezTo>
                  <a:cubicBezTo>
                    <a:pt x="1405" y="76830"/>
                    <a:pt x="1147" y="77266"/>
                    <a:pt x="888" y="77702"/>
                  </a:cubicBezTo>
                  <a:cubicBezTo>
                    <a:pt x="662" y="78090"/>
                    <a:pt x="339" y="78381"/>
                    <a:pt x="0" y="78607"/>
                  </a:cubicBezTo>
                  <a:cubicBezTo>
                    <a:pt x="1906" y="81450"/>
                    <a:pt x="3150" y="84697"/>
                    <a:pt x="3312" y="88057"/>
                  </a:cubicBezTo>
                  <a:lnTo>
                    <a:pt x="3328" y="88057"/>
                  </a:lnTo>
                  <a:lnTo>
                    <a:pt x="25911" y="104082"/>
                  </a:lnTo>
                  <a:cubicBezTo>
                    <a:pt x="29481" y="106618"/>
                    <a:pt x="33536" y="109494"/>
                    <a:pt x="36008" y="113888"/>
                  </a:cubicBezTo>
                  <a:cubicBezTo>
                    <a:pt x="38576" y="118475"/>
                    <a:pt x="38899" y="125276"/>
                    <a:pt x="34538" y="129379"/>
                  </a:cubicBezTo>
                  <a:cubicBezTo>
                    <a:pt x="32341" y="131447"/>
                    <a:pt x="29595" y="132239"/>
                    <a:pt x="27171" y="132933"/>
                  </a:cubicBezTo>
                  <a:lnTo>
                    <a:pt x="27171" y="1329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4" name="Free-form: Shape 343">
              <a:extLst>
                <a:ext uri="{FF2B5EF4-FFF2-40B4-BE49-F238E27FC236}">
                  <a16:creationId xmlns:a16="http://schemas.microsoft.com/office/drawing/2014/main" id="{9CDA9F53-DEDB-A9D9-46A4-FCE5D7C457E6}"/>
                </a:ext>
              </a:extLst>
            </p:cNvPr>
            <p:cNvSpPr/>
            <p:nvPr/>
          </p:nvSpPr>
          <p:spPr>
            <a:xfrm>
              <a:off x="5160422" y="4284119"/>
              <a:ext cx="13450" cy="21906"/>
            </a:xfrm>
            <a:custGeom>
              <a:avLst/>
              <a:gdLst>
                <a:gd name="connsiteX0" fmla="*/ 8455 w 13450"/>
                <a:gd name="connsiteY0" fmla="*/ 1696 h 21906"/>
                <a:gd name="connsiteX1" fmla="*/ 4917 w 13450"/>
                <a:gd name="connsiteY1" fmla="*/ 0 h 21906"/>
                <a:gd name="connsiteX2" fmla="*/ 2979 w 13450"/>
                <a:gd name="connsiteY2" fmla="*/ 679 h 21906"/>
                <a:gd name="connsiteX3" fmla="*/ 23 w 13450"/>
                <a:gd name="connsiteY3" fmla="*/ 7447 h 21906"/>
                <a:gd name="connsiteX4" fmla="*/ 3318 w 13450"/>
                <a:gd name="connsiteY4" fmla="*/ 16865 h 21906"/>
                <a:gd name="connsiteX5" fmla="*/ 7680 w 13450"/>
                <a:gd name="connsiteY5" fmla="*/ 21889 h 21906"/>
                <a:gd name="connsiteX6" fmla="*/ 11896 w 13450"/>
                <a:gd name="connsiteY6" fmla="*/ 18707 h 21906"/>
                <a:gd name="connsiteX7" fmla="*/ 8455 w 13450"/>
                <a:gd name="connsiteY7" fmla="*/ 1712 h 21906"/>
                <a:gd name="connsiteX8" fmla="*/ 8455 w 13450"/>
                <a:gd name="connsiteY8" fmla="*/ 1696 h 2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50" h="21906">
                  <a:moveTo>
                    <a:pt x="8455" y="1696"/>
                  </a:moveTo>
                  <a:cubicBezTo>
                    <a:pt x="6678" y="469"/>
                    <a:pt x="5741" y="0"/>
                    <a:pt x="4917" y="0"/>
                  </a:cubicBezTo>
                  <a:cubicBezTo>
                    <a:pt x="4304" y="0"/>
                    <a:pt x="3754" y="259"/>
                    <a:pt x="2979" y="679"/>
                  </a:cubicBezTo>
                  <a:cubicBezTo>
                    <a:pt x="701" y="1890"/>
                    <a:pt x="-155" y="5024"/>
                    <a:pt x="23" y="7447"/>
                  </a:cubicBezTo>
                  <a:cubicBezTo>
                    <a:pt x="249" y="10646"/>
                    <a:pt x="1816" y="13812"/>
                    <a:pt x="3318" y="16865"/>
                  </a:cubicBezTo>
                  <a:cubicBezTo>
                    <a:pt x="4417" y="19094"/>
                    <a:pt x="5887" y="21663"/>
                    <a:pt x="7680" y="21889"/>
                  </a:cubicBezTo>
                  <a:cubicBezTo>
                    <a:pt x="9279" y="22099"/>
                    <a:pt x="10975" y="20370"/>
                    <a:pt x="11896" y="18707"/>
                  </a:cubicBezTo>
                  <a:cubicBezTo>
                    <a:pt x="14933" y="13198"/>
                    <a:pt x="13382" y="5605"/>
                    <a:pt x="8455" y="1712"/>
                  </a:cubicBezTo>
                  <a:lnTo>
                    <a:pt x="8455" y="169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5" name="Free-form: Shape 344">
              <a:extLst>
                <a:ext uri="{FF2B5EF4-FFF2-40B4-BE49-F238E27FC236}">
                  <a16:creationId xmlns:a16="http://schemas.microsoft.com/office/drawing/2014/main" id="{31CF85C4-2DDA-C0DE-0E62-96A7480D0F67}"/>
                </a:ext>
              </a:extLst>
            </p:cNvPr>
            <p:cNvSpPr/>
            <p:nvPr/>
          </p:nvSpPr>
          <p:spPr>
            <a:xfrm>
              <a:off x="5294898" y="3425038"/>
              <a:ext cx="16092" cy="15045"/>
            </a:xfrm>
            <a:custGeom>
              <a:avLst/>
              <a:gdLst>
                <a:gd name="connsiteX0" fmla="*/ 12452 w 16092"/>
                <a:gd name="connsiteY0" fmla="*/ 420 h 15045"/>
                <a:gd name="connsiteX1" fmla="*/ 7525 w 16092"/>
                <a:gd name="connsiteY1" fmla="*/ 0 h 15045"/>
                <a:gd name="connsiteX2" fmla="*/ 563 w 16092"/>
                <a:gd name="connsiteY2" fmla="*/ 7221 h 15045"/>
                <a:gd name="connsiteX3" fmla="*/ 498 w 16092"/>
                <a:gd name="connsiteY3" fmla="*/ 13004 h 15045"/>
                <a:gd name="connsiteX4" fmla="*/ 7622 w 16092"/>
                <a:gd name="connsiteY4" fmla="*/ 14749 h 15045"/>
                <a:gd name="connsiteX5" fmla="*/ 15279 w 16092"/>
                <a:gd name="connsiteY5" fmla="*/ 9111 h 15045"/>
                <a:gd name="connsiteX6" fmla="*/ 14391 w 16092"/>
                <a:gd name="connsiteY6" fmla="*/ 953 h 15045"/>
                <a:gd name="connsiteX7" fmla="*/ 12436 w 16092"/>
                <a:gd name="connsiteY7" fmla="*/ 404 h 15045"/>
                <a:gd name="connsiteX8" fmla="*/ 12452 w 16092"/>
                <a:gd name="connsiteY8" fmla="*/ 420 h 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2" h="15045">
                  <a:moveTo>
                    <a:pt x="12452" y="420"/>
                  </a:moveTo>
                  <a:cubicBezTo>
                    <a:pt x="11306" y="517"/>
                    <a:pt x="9658" y="662"/>
                    <a:pt x="7525" y="0"/>
                  </a:cubicBezTo>
                  <a:cubicBezTo>
                    <a:pt x="5458" y="565"/>
                    <a:pt x="1516" y="3619"/>
                    <a:pt x="563" y="7221"/>
                  </a:cubicBezTo>
                  <a:cubicBezTo>
                    <a:pt x="111" y="8949"/>
                    <a:pt x="-406" y="11421"/>
                    <a:pt x="498" y="13004"/>
                  </a:cubicBezTo>
                  <a:cubicBezTo>
                    <a:pt x="1645" y="15023"/>
                    <a:pt x="4957" y="15411"/>
                    <a:pt x="7622" y="14749"/>
                  </a:cubicBezTo>
                  <a:cubicBezTo>
                    <a:pt x="11079" y="13893"/>
                    <a:pt x="13939" y="11792"/>
                    <a:pt x="15279" y="9111"/>
                  </a:cubicBezTo>
                  <a:cubicBezTo>
                    <a:pt x="16636" y="6397"/>
                    <a:pt x="16265" y="2891"/>
                    <a:pt x="14391" y="953"/>
                  </a:cubicBezTo>
                  <a:cubicBezTo>
                    <a:pt x="13745" y="291"/>
                    <a:pt x="13729" y="291"/>
                    <a:pt x="12436" y="404"/>
                  </a:cubicBezTo>
                  <a:lnTo>
                    <a:pt x="12452" y="42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6" name="Free-form: Shape 345">
              <a:extLst>
                <a:ext uri="{FF2B5EF4-FFF2-40B4-BE49-F238E27FC236}">
                  <a16:creationId xmlns:a16="http://schemas.microsoft.com/office/drawing/2014/main" id="{98412E76-4C0B-B6E9-4301-CCF41C821C3F}"/>
                </a:ext>
              </a:extLst>
            </p:cNvPr>
            <p:cNvSpPr/>
            <p:nvPr/>
          </p:nvSpPr>
          <p:spPr>
            <a:xfrm>
              <a:off x="5266893" y="3293979"/>
              <a:ext cx="18406" cy="19918"/>
            </a:xfrm>
            <a:custGeom>
              <a:avLst/>
              <a:gdLst>
                <a:gd name="connsiteX0" fmla="*/ 14401 w 18406"/>
                <a:gd name="connsiteY0" fmla="*/ 16 h 19918"/>
                <a:gd name="connsiteX1" fmla="*/ 13222 w 18406"/>
                <a:gd name="connsiteY1" fmla="*/ 194 h 19918"/>
                <a:gd name="connsiteX2" fmla="*/ 12027 w 18406"/>
                <a:gd name="connsiteY2" fmla="*/ 1276 h 19918"/>
                <a:gd name="connsiteX3" fmla="*/ 11978 w 18406"/>
                <a:gd name="connsiteY3" fmla="*/ 1502 h 19918"/>
                <a:gd name="connsiteX4" fmla="*/ 4547 w 18406"/>
                <a:gd name="connsiteY4" fmla="*/ 8659 h 19918"/>
                <a:gd name="connsiteX5" fmla="*/ 331 w 18406"/>
                <a:gd name="connsiteY5" fmla="*/ 11809 h 19918"/>
                <a:gd name="connsiteX6" fmla="*/ 1203 w 18406"/>
                <a:gd name="connsiteY6" fmla="*/ 16655 h 19918"/>
                <a:gd name="connsiteX7" fmla="*/ 7827 w 18406"/>
                <a:gd name="connsiteY7" fmla="*/ 19886 h 19918"/>
                <a:gd name="connsiteX8" fmla="*/ 18004 w 18406"/>
                <a:gd name="connsiteY8" fmla="*/ 9111 h 19918"/>
                <a:gd name="connsiteX9" fmla="*/ 16647 w 18406"/>
                <a:gd name="connsiteY9" fmla="*/ 775 h 19918"/>
                <a:gd name="connsiteX10" fmla="*/ 14417 w 18406"/>
                <a:gd name="connsiteY10" fmla="*/ 0 h 19918"/>
                <a:gd name="connsiteX11" fmla="*/ 14401 w 18406"/>
                <a:gd name="connsiteY11" fmla="*/ 16 h 1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06" h="19918">
                  <a:moveTo>
                    <a:pt x="14401" y="16"/>
                  </a:moveTo>
                  <a:cubicBezTo>
                    <a:pt x="13997" y="16"/>
                    <a:pt x="13594" y="81"/>
                    <a:pt x="13222" y="194"/>
                  </a:cubicBezTo>
                  <a:cubicBezTo>
                    <a:pt x="12737" y="355"/>
                    <a:pt x="12140" y="662"/>
                    <a:pt x="12027" y="1276"/>
                  </a:cubicBezTo>
                  <a:cubicBezTo>
                    <a:pt x="12027" y="1357"/>
                    <a:pt x="11994" y="1438"/>
                    <a:pt x="11978" y="1502"/>
                  </a:cubicBezTo>
                  <a:cubicBezTo>
                    <a:pt x="10637" y="6559"/>
                    <a:pt x="7116" y="7770"/>
                    <a:pt x="4547" y="8659"/>
                  </a:cubicBezTo>
                  <a:cubicBezTo>
                    <a:pt x="2350" y="9418"/>
                    <a:pt x="1171" y="9903"/>
                    <a:pt x="331" y="11809"/>
                  </a:cubicBezTo>
                  <a:cubicBezTo>
                    <a:pt x="-541" y="13812"/>
                    <a:pt x="509" y="15702"/>
                    <a:pt x="1203" y="16655"/>
                  </a:cubicBezTo>
                  <a:cubicBezTo>
                    <a:pt x="2819" y="18836"/>
                    <a:pt x="5468" y="20144"/>
                    <a:pt x="7827" y="19886"/>
                  </a:cubicBezTo>
                  <a:cubicBezTo>
                    <a:pt x="13206" y="19304"/>
                    <a:pt x="16873" y="13893"/>
                    <a:pt x="18004" y="9111"/>
                  </a:cubicBezTo>
                  <a:cubicBezTo>
                    <a:pt x="18327" y="7770"/>
                    <a:pt x="19183" y="3182"/>
                    <a:pt x="16647" y="775"/>
                  </a:cubicBezTo>
                  <a:cubicBezTo>
                    <a:pt x="16130" y="274"/>
                    <a:pt x="15274" y="0"/>
                    <a:pt x="14417" y="0"/>
                  </a:cubicBezTo>
                  <a:lnTo>
                    <a:pt x="14401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7" name="Free-form: Shape 346">
              <a:extLst>
                <a:ext uri="{FF2B5EF4-FFF2-40B4-BE49-F238E27FC236}">
                  <a16:creationId xmlns:a16="http://schemas.microsoft.com/office/drawing/2014/main" id="{CA01C9FF-8483-F6B1-CA2F-81BE0C889503}"/>
                </a:ext>
              </a:extLst>
            </p:cNvPr>
            <p:cNvSpPr/>
            <p:nvPr/>
          </p:nvSpPr>
          <p:spPr>
            <a:xfrm>
              <a:off x="5308494" y="2646837"/>
              <a:ext cx="17699" cy="19012"/>
            </a:xfrm>
            <a:custGeom>
              <a:avLst/>
              <a:gdLst>
                <a:gd name="connsiteX0" fmla="*/ 13428 w 17699"/>
                <a:gd name="connsiteY0" fmla="*/ 3 h 19012"/>
                <a:gd name="connsiteX1" fmla="*/ 3008 w 17699"/>
                <a:gd name="connsiteY1" fmla="*/ 5463 h 19012"/>
                <a:gd name="connsiteX2" fmla="*/ 456 w 17699"/>
                <a:gd name="connsiteY2" fmla="*/ 14558 h 19012"/>
                <a:gd name="connsiteX3" fmla="*/ 8856 w 17699"/>
                <a:gd name="connsiteY3" fmla="*/ 19000 h 19012"/>
                <a:gd name="connsiteX4" fmla="*/ 17612 w 17699"/>
                <a:gd name="connsiteY4" fmla="*/ 12086 h 19012"/>
                <a:gd name="connsiteX5" fmla="*/ 14219 w 17699"/>
                <a:gd name="connsiteY5" fmla="*/ 423 h 19012"/>
                <a:gd name="connsiteX6" fmla="*/ 13428 w 17699"/>
                <a:gd name="connsiteY6" fmla="*/ 3 h 1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99" h="19012">
                  <a:moveTo>
                    <a:pt x="13428" y="3"/>
                  </a:moveTo>
                  <a:cubicBezTo>
                    <a:pt x="9825" y="1134"/>
                    <a:pt x="5787" y="2669"/>
                    <a:pt x="3008" y="5463"/>
                  </a:cubicBezTo>
                  <a:cubicBezTo>
                    <a:pt x="860" y="7628"/>
                    <a:pt x="-853" y="11392"/>
                    <a:pt x="456" y="14558"/>
                  </a:cubicBezTo>
                  <a:cubicBezTo>
                    <a:pt x="1764" y="17708"/>
                    <a:pt x="5658" y="19162"/>
                    <a:pt x="8856" y="19000"/>
                  </a:cubicBezTo>
                  <a:cubicBezTo>
                    <a:pt x="13137" y="18758"/>
                    <a:pt x="17062" y="15657"/>
                    <a:pt x="17612" y="12086"/>
                  </a:cubicBezTo>
                  <a:cubicBezTo>
                    <a:pt x="18096" y="8888"/>
                    <a:pt x="16513" y="2539"/>
                    <a:pt x="14219" y="423"/>
                  </a:cubicBezTo>
                  <a:cubicBezTo>
                    <a:pt x="13783" y="19"/>
                    <a:pt x="13541" y="-13"/>
                    <a:pt x="13428" y="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8" name="Free-form: Shape 347">
              <a:extLst>
                <a:ext uri="{FF2B5EF4-FFF2-40B4-BE49-F238E27FC236}">
                  <a16:creationId xmlns:a16="http://schemas.microsoft.com/office/drawing/2014/main" id="{5826EDE7-20BD-9985-59AC-482CDE420F55}"/>
                </a:ext>
              </a:extLst>
            </p:cNvPr>
            <p:cNvSpPr/>
            <p:nvPr/>
          </p:nvSpPr>
          <p:spPr>
            <a:xfrm>
              <a:off x="5363309" y="2282904"/>
              <a:ext cx="2083" cy="2019"/>
            </a:xfrm>
            <a:custGeom>
              <a:avLst/>
              <a:gdLst>
                <a:gd name="connsiteX0" fmla="*/ 2084 w 2083"/>
                <a:gd name="connsiteY0" fmla="*/ 0 h 2019"/>
                <a:gd name="connsiteX1" fmla="*/ 0 w 2083"/>
                <a:gd name="connsiteY1" fmla="*/ 2003 h 2019"/>
                <a:gd name="connsiteX2" fmla="*/ 0 w 2083"/>
                <a:gd name="connsiteY2" fmla="*/ 2019 h 2019"/>
                <a:gd name="connsiteX3" fmla="*/ 2084 w 2083"/>
                <a:gd name="connsiteY3" fmla="*/ 0 h 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" h="2019">
                  <a:moveTo>
                    <a:pt x="2084" y="0"/>
                  </a:moveTo>
                  <a:lnTo>
                    <a:pt x="0" y="2003"/>
                  </a:lnTo>
                  <a:lnTo>
                    <a:pt x="0" y="2019"/>
                  </a:lnTo>
                  <a:lnTo>
                    <a:pt x="2084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9" name="Free-form: Shape 348">
              <a:extLst>
                <a:ext uri="{FF2B5EF4-FFF2-40B4-BE49-F238E27FC236}">
                  <a16:creationId xmlns:a16="http://schemas.microsoft.com/office/drawing/2014/main" id="{D01E1CB5-DF54-F816-9E85-8BCE9084778D}"/>
                </a:ext>
              </a:extLst>
            </p:cNvPr>
            <p:cNvSpPr/>
            <p:nvPr/>
          </p:nvSpPr>
          <p:spPr>
            <a:xfrm>
              <a:off x="5256456" y="4014231"/>
              <a:ext cx="52864" cy="45932"/>
            </a:xfrm>
            <a:custGeom>
              <a:avLst/>
              <a:gdLst>
                <a:gd name="connsiteX0" fmla="*/ 8894 w 52864"/>
                <a:gd name="connsiteY0" fmla="*/ 45345 h 45932"/>
                <a:gd name="connsiteX1" fmla="*/ 12512 w 52864"/>
                <a:gd name="connsiteY1" fmla="*/ 40466 h 45932"/>
                <a:gd name="connsiteX2" fmla="*/ 17294 w 52864"/>
                <a:gd name="connsiteY2" fmla="*/ 33940 h 45932"/>
                <a:gd name="connsiteX3" fmla="*/ 24192 w 52864"/>
                <a:gd name="connsiteY3" fmla="*/ 30952 h 45932"/>
                <a:gd name="connsiteX4" fmla="*/ 25985 w 52864"/>
                <a:gd name="connsiteY4" fmla="*/ 30434 h 45932"/>
                <a:gd name="connsiteX5" fmla="*/ 39344 w 52864"/>
                <a:gd name="connsiteY5" fmla="*/ 22842 h 45932"/>
                <a:gd name="connsiteX6" fmla="*/ 49780 w 52864"/>
                <a:gd name="connsiteY6" fmla="*/ 15427 h 45932"/>
                <a:gd name="connsiteX7" fmla="*/ 52768 w 52864"/>
                <a:gd name="connsiteY7" fmla="*/ 12455 h 45932"/>
                <a:gd name="connsiteX8" fmla="*/ 51476 w 52864"/>
                <a:gd name="connsiteY8" fmla="*/ 8271 h 45932"/>
                <a:gd name="connsiteX9" fmla="*/ 39587 w 52864"/>
                <a:gd name="connsiteY9" fmla="*/ 0 h 45932"/>
                <a:gd name="connsiteX10" fmla="*/ 37600 w 52864"/>
                <a:gd name="connsiteY10" fmla="*/ 2843 h 45932"/>
                <a:gd name="connsiteX11" fmla="*/ 34143 w 52864"/>
                <a:gd name="connsiteY11" fmla="*/ 8400 h 45932"/>
                <a:gd name="connsiteX12" fmla="*/ 25500 w 52864"/>
                <a:gd name="connsiteY12" fmla="*/ 11324 h 45932"/>
                <a:gd name="connsiteX13" fmla="*/ 22802 w 52864"/>
                <a:gd name="connsiteY13" fmla="*/ 11615 h 45932"/>
                <a:gd name="connsiteX14" fmla="*/ 11656 w 52864"/>
                <a:gd name="connsiteY14" fmla="*/ 18900 h 45932"/>
                <a:gd name="connsiteX15" fmla="*/ 9 w 52864"/>
                <a:gd name="connsiteY15" fmla="*/ 37106 h 45932"/>
                <a:gd name="connsiteX16" fmla="*/ 2642 w 52864"/>
                <a:gd name="connsiteY16" fmla="*/ 44376 h 45932"/>
                <a:gd name="connsiteX17" fmla="*/ 8894 w 52864"/>
                <a:gd name="connsiteY17" fmla="*/ 45361 h 45932"/>
                <a:gd name="connsiteX18" fmla="*/ 8894 w 52864"/>
                <a:gd name="connsiteY18" fmla="*/ 45345 h 4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2864" h="45932">
                  <a:moveTo>
                    <a:pt x="8894" y="45345"/>
                  </a:moveTo>
                  <a:cubicBezTo>
                    <a:pt x="10428" y="44424"/>
                    <a:pt x="11398" y="42582"/>
                    <a:pt x="12512" y="40466"/>
                  </a:cubicBezTo>
                  <a:cubicBezTo>
                    <a:pt x="13675" y="38253"/>
                    <a:pt x="15000" y="35733"/>
                    <a:pt x="17294" y="33940"/>
                  </a:cubicBezTo>
                  <a:cubicBezTo>
                    <a:pt x="19442" y="32260"/>
                    <a:pt x="21962" y="31565"/>
                    <a:pt x="24192" y="30952"/>
                  </a:cubicBezTo>
                  <a:cubicBezTo>
                    <a:pt x="24789" y="30790"/>
                    <a:pt x="25387" y="30628"/>
                    <a:pt x="25985" y="30434"/>
                  </a:cubicBezTo>
                  <a:cubicBezTo>
                    <a:pt x="30783" y="28916"/>
                    <a:pt x="35128" y="25831"/>
                    <a:pt x="39344" y="22842"/>
                  </a:cubicBezTo>
                  <a:lnTo>
                    <a:pt x="49780" y="15427"/>
                  </a:lnTo>
                  <a:cubicBezTo>
                    <a:pt x="51218" y="14409"/>
                    <a:pt x="52429" y="13473"/>
                    <a:pt x="52768" y="12455"/>
                  </a:cubicBezTo>
                  <a:cubicBezTo>
                    <a:pt x="53188" y="11114"/>
                    <a:pt x="52138" y="9256"/>
                    <a:pt x="51476" y="8271"/>
                  </a:cubicBezTo>
                  <a:cubicBezTo>
                    <a:pt x="48698" y="4168"/>
                    <a:pt x="44401" y="1179"/>
                    <a:pt x="39587" y="0"/>
                  </a:cubicBezTo>
                  <a:cubicBezTo>
                    <a:pt x="38650" y="404"/>
                    <a:pt x="38327" y="1115"/>
                    <a:pt x="37600" y="2843"/>
                  </a:cubicBezTo>
                  <a:cubicBezTo>
                    <a:pt x="36921" y="4475"/>
                    <a:pt x="36081" y="6510"/>
                    <a:pt x="34143" y="8400"/>
                  </a:cubicBezTo>
                  <a:cubicBezTo>
                    <a:pt x="31623" y="10856"/>
                    <a:pt x="28376" y="11098"/>
                    <a:pt x="25500" y="11324"/>
                  </a:cubicBezTo>
                  <a:cubicBezTo>
                    <a:pt x="24595" y="11389"/>
                    <a:pt x="23675" y="11469"/>
                    <a:pt x="22802" y="11615"/>
                  </a:cubicBezTo>
                  <a:cubicBezTo>
                    <a:pt x="18505" y="12390"/>
                    <a:pt x="14709" y="15993"/>
                    <a:pt x="11656" y="18900"/>
                  </a:cubicBezTo>
                  <a:cubicBezTo>
                    <a:pt x="5905" y="24344"/>
                    <a:pt x="283" y="30241"/>
                    <a:pt x="9" y="37106"/>
                  </a:cubicBezTo>
                  <a:cubicBezTo>
                    <a:pt x="-104" y="40030"/>
                    <a:pt x="881" y="42744"/>
                    <a:pt x="2642" y="44376"/>
                  </a:cubicBezTo>
                  <a:cubicBezTo>
                    <a:pt x="4387" y="45975"/>
                    <a:pt x="7133" y="46411"/>
                    <a:pt x="8894" y="45361"/>
                  </a:cubicBezTo>
                  <a:lnTo>
                    <a:pt x="8894" y="4534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0" name="Free-form: Shape 349">
              <a:extLst>
                <a:ext uri="{FF2B5EF4-FFF2-40B4-BE49-F238E27FC236}">
                  <a16:creationId xmlns:a16="http://schemas.microsoft.com/office/drawing/2014/main" id="{5A5F89C6-B0EE-D343-3CE5-072DEA70A962}"/>
                </a:ext>
              </a:extLst>
            </p:cNvPr>
            <p:cNvSpPr/>
            <p:nvPr/>
          </p:nvSpPr>
          <p:spPr>
            <a:xfrm>
              <a:off x="5323021" y="3795419"/>
              <a:ext cx="16002" cy="11725"/>
            </a:xfrm>
            <a:custGeom>
              <a:avLst/>
              <a:gdLst>
                <a:gd name="connsiteX0" fmla="*/ 5427 w 16002"/>
                <a:gd name="connsiteY0" fmla="*/ 11133 h 11725"/>
                <a:gd name="connsiteX1" fmla="*/ 8642 w 16002"/>
                <a:gd name="connsiteY1" fmla="*/ 10455 h 11725"/>
                <a:gd name="connsiteX2" fmla="*/ 15718 w 16002"/>
                <a:gd name="connsiteY2" fmla="*/ 5915 h 11725"/>
                <a:gd name="connsiteX3" fmla="*/ 15411 w 16002"/>
                <a:gd name="connsiteY3" fmla="*/ 2022 h 11725"/>
                <a:gd name="connsiteX4" fmla="*/ 14506 w 16002"/>
                <a:gd name="connsiteY4" fmla="*/ 924 h 11725"/>
                <a:gd name="connsiteX5" fmla="*/ 4135 w 16002"/>
                <a:gd name="connsiteY5" fmla="*/ 1941 h 11725"/>
                <a:gd name="connsiteX6" fmla="*/ 16 w 16002"/>
                <a:gd name="connsiteY6" fmla="*/ 10778 h 11725"/>
                <a:gd name="connsiteX7" fmla="*/ 5411 w 16002"/>
                <a:gd name="connsiteY7" fmla="*/ 11133 h 11725"/>
                <a:gd name="connsiteX8" fmla="*/ 5427 w 16002"/>
                <a:gd name="connsiteY8" fmla="*/ 11133 h 1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02" h="11725">
                  <a:moveTo>
                    <a:pt x="5427" y="11133"/>
                  </a:moveTo>
                  <a:cubicBezTo>
                    <a:pt x="6461" y="10875"/>
                    <a:pt x="7528" y="10600"/>
                    <a:pt x="8642" y="10455"/>
                  </a:cubicBezTo>
                  <a:cubicBezTo>
                    <a:pt x="11986" y="10051"/>
                    <a:pt x="14765" y="8274"/>
                    <a:pt x="15718" y="5915"/>
                  </a:cubicBezTo>
                  <a:cubicBezTo>
                    <a:pt x="16186" y="4768"/>
                    <a:pt x="16073" y="3234"/>
                    <a:pt x="15411" y="2022"/>
                  </a:cubicBezTo>
                  <a:cubicBezTo>
                    <a:pt x="15249" y="1715"/>
                    <a:pt x="14942" y="1263"/>
                    <a:pt x="14506" y="924"/>
                  </a:cubicBezTo>
                  <a:cubicBezTo>
                    <a:pt x="11227" y="-611"/>
                    <a:pt x="7059" y="-207"/>
                    <a:pt x="4135" y="1941"/>
                  </a:cubicBezTo>
                  <a:cubicBezTo>
                    <a:pt x="1421" y="3945"/>
                    <a:pt x="-178" y="7418"/>
                    <a:pt x="16" y="10778"/>
                  </a:cubicBezTo>
                  <a:cubicBezTo>
                    <a:pt x="1292" y="12102"/>
                    <a:pt x="2552" y="11860"/>
                    <a:pt x="5411" y="11133"/>
                  </a:cubicBezTo>
                  <a:lnTo>
                    <a:pt x="5427" y="1113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1" name="Free-form: Shape 350">
              <a:extLst>
                <a:ext uri="{FF2B5EF4-FFF2-40B4-BE49-F238E27FC236}">
                  <a16:creationId xmlns:a16="http://schemas.microsoft.com/office/drawing/2014/main" id="{AE74D9DA-9071-C52C-3D79-71244530F49C}"/>
                </a:ext>
              </a:extLst>
            </p:cNvPr>
            <p:cNvSpPr/>
            <p:nvPr/>
          </p:nvSpPr>
          <p:spPr>
            <a:xfrm>
              <a:off x="5267741" y="4333196"/>
              <a:ext cx="15615" cy="18903"/>
            </a:xfrm>
            <a:custGeom>
              <a:avLst/>
              <a:gdLst>
                <a:gd name="connsiteX0" fmla="*/ 2552 w 15615"/>
                <a:gd name="connsiteY0" fmla="*/ 6058 h 18903"/>
                <a:gd name="connsiteX1" fmla="*/ 662 w 15615"/>
                <a:gd name="connsiteY1" fmla="*/ 15427 h 18903"/>
                <a:gd name="connsiteX2" fmla="*/ 9756 w 15615"/>
                <a:gd name="connsiteY2" fmla="*/ 18383 h 18903"/>
                <a:gd name="connsiteX3" fmla="*/ 15604 w 15615"/>
                <a:gd name="connsiteY3" fmla="*/ 9192 h 18903"/>
                <a:gd name="connsiteX4" fmla="*/ 13617 w 15615"/>
                <a:gd name="connsiteY4" fmla="*/ 743 h 18903"/>
                <a:gd name="connsiteX5" fmla="*/ 12163 w 15615"/>
                <a:gd name="connsiteY5" fmla="*/ 0 h 18903"/>
                <a:gd name="connsiteX6" fmla="*/ 2535 w 15615"/>
                <a:gd name="connsiteY6" fmla="*/ 6058 h 18903"/>
                <a:gd name="connsiteX7" fmla="*/ 2552 w 15615"/>
                <a:gd name="connsiteY7" fmla="*/ 6058 h 18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15" h="18903">
                  <a:moveTo>
                    <a:pt x="2552" y="6058"/>
                  </a:moveTo>
                  <a:cubicBezTo>
                    <a:pt x="548" y="8400"/>
                    <a:pt x="-905" y="12326"/>
                    <a:pt x="662" y="15427"/>
                  </a:cubicBezTo>
                  <a:cubicBezTo>
                    <a:pt x="2132" y="18335"/>
                    <a:pt x="6461" y="19740"/>
                    <a:pt x="9756" y="18383"/>
                  </a:cubicBezTo>
                  <a:cubicBezTo>
                    <a:pt x="13084" y="17010"/>
                    <a:pt x="15491" y="13230"/>
                    <a:pt x="15604" y="9192"/>
                  </a:cubicBezTo>
                  <a:cubicBezTo>
                    <a:pt x="15717" y="5412"/>
                    <a:pt x="14942" y="2100"/>
                    <a:pt x="13617" y="743"/>
                  </a:cubicBezTo>
                  <a:cubicBezTo>
                    <a:pt x="13213" y="323"/>
                    <a:pt x="12745" y="81"/>
                    <a:pt x="12163" y="0"/>
                  </a:cubicBezTo>
                  <a:cubicBezTo>
                    <a:pt x="8739" y="1357"/>
                    <a:pt x="5023" y="3150"/>
                    <a:pt x="2535" y="6058"/>
                  </a:cubicBezTo>
                  <a:lnTo>
                    <a:pt x="2552" y="605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2" name="Free-form: Shape 351">
              <a:extLst>
                <a:ext uri="{FF2B5EF4-FFF2-40B4-BE49-F238E27FC236}">
                  <a16:creationId xmlns:a16="http://schemas.microsoft.com/office/drawing/2014/main" id="{481DE5C0-6209-1748-C91A-226F73990189}"/>
                </a:ext>
              </a:extLst>
            </p:cNvPr>
            <p:cNvSpPr/>
            <p:nvPr/>
          </p:nvSpPr>
          <p:spPr>
            <a:xfrm>
              <a:off x="5331963" y="2545085"/>
              <a:ext cx="17609" cy="11388"/>
            </a:xfrm>
            <a:custGeom>
              <a:avLst/>
              <a:gdLst>
                <a:gd name="connsiteX0" fmla="*/ 16629 w 17609"/>
                <a:gd name="connsiteY0" fmla="*/ 8109 h 11388"/>
                <a:gd name="connsiteX1" fmla="*/ 17340 w 17609"/>
                <a:gd name="connsiteY1" fmla="*/ 3812 h 11388"/>
                <a:gd name="connsiteX2" fmla="*/ 11944 w 17609"/>
                <a:gd name="connsiteY2" fmla="*/ 145 h 11388"/>
                <a:gd name="connsiteX3" fmla="*/ 10070 w 17609"/>
                <a:gd name="connsiteY3" fmla="*/ 0 h 11388"/>
                <a:gd name="connsiteX4" fmla="*/ 3447 w 17609"/>
                <a:gd name="connsiteY4" fmla="*/ 1082 h 11388"/>
                <a:gd name="connsiteX5" fmla="*/ 249 w 17609"/>
                <a:gd name="connsiteY5" fmla="*/ 4491 h 11388"/>
                <a:gd name="connsiteX6" fmla="*/ 87 w 17609"/>
                <a:gd name="connsiteY6" fmla="*/ 5751 h 11388"/>
                <a:gd name="connsiteX7" fmla="*/ 362 w 17609"/>
                <a:gd name="connsiteY7" fmla="*/ 7140 h 11388"/>
                <a:gd name="connsiteX8" fmla="*/ 10814 w 17609"/>
                <a:gd name="connsiteY8" fmla="*/ 11389 h 11388"/>
                <a:gd name="connsiteX9" fmla="*/ 10846 w 17609"/>
                <a:gd name="connsiteY9" fmla="*/ 11389 h 11388"/>
                <a:gd name="connsiteX10" fmla="*/ 16613 w 17609"/>
                <a:gd name="connsiteY10" fmla="*/ 8093 h 11388"/>
                <a:gd name="connsiteX11" fmla="*/ 16629 w 17609"/>
                <a:gd name="connsiteY11" fmla="*/ 8109 h 11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609" h="11388">
                  <a:moveTo>
                    <a:pt x="16629" y="8109"/>
                  </a:moveTo>
                  <a:cubicBezTo>
                    <a:pt x="17194" y="7269"/>
                    <a:pt x="18051" y="5573"/>
                    <a:pt x="17340" y="3812"/>
                  </a:cubicBezTo>
                  <a:cubicBezTo>
                    <a:pt x="16613" y="1987"/>
                    <a:pt x="14497" y="549"/>
                    <a:pt x="11944" y="145"/>
                  </a:cubicBezTo>
                  <a:cubicBezTo>
                    <a:pt x="11330" y="49"/>
                    <a:pt x="10700" y="0"/>
                    <a:pt x="10070" y="0"/>
                  </a:cubicBezTo>
                  <a:cubicBezTo>
                    <a:pt x="7890" y="0"/>
                    <a:pt x="5628" y="501"/>
                    <a:pt x="3447" y="1082"/>
                  </a:cubicBezTo>
                  <a:cubicBezTo>
                    <a:pt x="2413" y="1470"/>
                    <a:pt x="216" y="3667"/>
                    <a:pt x="249" y="4491"/>
                  </a:cubicBezTo>
                  <a:cubicBezTo>
                    <a:pt x="265" y="4879"/>
                    <a:pt x="216" y="5396"/>
                    <a:pt x="87" y="5751"/>
                  </a:cubicBezTo>
                  <a:cubicBezTo>
                    <a:pt x="-26" y="6074"/>
                    <a:pt x="-107" y="6462"/>
                    <a:pt x="362" y="7140"/>
                  </a:cubicBezTo>
                  <a:cubicBezTo>
                    <a:pt x="1896" y="9337"/>
                    <a:pt x="6969" y="11389"/>
                    <a:pt x="10814" y="11389"/>
                  </a:cubicBezTo>
                  <a:lnTo>
                    <a:pt x="10846" y="11389"/>
                  </a:lnTo>
                  <a:cubicBezTo>
                    <a:pt x="12978" y="11389"/>
                    <a:pt x="15288" y="10064"/>
                    <a:pt x="16613" y="8093"/>
                  </a:cubicBezTo>
                  <a:lnTo>
                    <a:pt x="16629" y="810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3" name="Free-form: Shape 352">
              <a:extLst>
                <a:ext uri="{FF2B5EF4-FFF2-40B4-BE49-F238E27FC236}">
                  <a16:creationId xmlns:a16="http://schemas.microsoft.com/office/drawing/2014/main" id="{96A23E60-64AC-5EAC-CFC2-C3DEC53022A4}"/>
                </a:ext>
              </a:extLst>
            </p:cNvPr>
            <p:cNvSpPr/>
            <p:nvPr/>
          </p:nvSpPr>
          <p:spPr>
            <a:xfrm>
              <a:off x="5116698" y="2736175"/>
              <a:ext cx="15121" cy="27886"/>
            </a:xfrm>
            <a:custGeom>
              <a:avLst/>
              <a:gdLst>
                <a:gd name="connsiteX0" fmla="*/ 6042 w 15121"/>
                <a:gd name="connsiteY0" fmla="*/ 27414 h 27886"/>
                <a:gd name="connsiteX1" fmla="*/ 8175 w 15121"/>
                <a:gd name="connsiteY1" fmla="*/ 27882 h 27886"/>
                <a:gd name="connsiteX2" fmla="*/ 11745 w 15121"/>
                <a:gd name="connsiteY2" fmla="*/ 18610 h 27886"/>
                <a:gd name="connsiteX3" fmla="*/ 15121 w 15121"/>
                <a:gd name="connsiteY3" fmla="*/ 9337 h 27886"/>
                <a:gd name="connsiteX4" fmla="*/ 11179 w 15121"/>
                <a:gd name="connsiteY4" fmla="*/ 985 h 27886"/>
                <a:gd name="connsiteX5" fmla="*/ 10016 w 15121"/>
                <a:gd name="connsiteY5" fmla="*/ 0 h 27886"/>
                <a:gd name="connsiteX6" fmla="*/ 10000 w 15121"/>
                <a:gd name="connsiteY6" fmla="*/ 0 h 27886"/>
                <a:gd name="connsiteX7" fmla="*/ 8740 w 15121"/>
                <a:gd name="connsiteY7" fmla="*/ 533 h 27886"/>
                <a:gd name="connsiteX8" fmla="*/ 776 w 15121"/>
                <a:gd name="connsiteY8" fmla="*/ 21162 h 27886"/>
                <a:gd name="connsiteX9" fmla="*/ 6058 w 15121"/>
                <a:gd name="connsiteY9" fmla="*/ 27430 h 27886"/>
                <a:gd name="connsiteX10" fmla="*/ 6042 w 15121"/>
                <a:gd name="connsiteY10" fmla="*/ 27414 h 2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21" h="27886">
                  <a:moveTo>
                    <a:pt x="6042" y="27414"/>
                  </a:moveTo>
                  <a:cubicBezTo>
                    <a:pt x="6785" y="27753"/>
                    <a:pt x="7496" y="27915"/>
                    <a:pt x="8175" y="27882"/>
                  </a:cubicBezTo>
                  <a:cubicBezTo>
                    <a:pt x="8789" y="25217"/>
                    <a:pt x="10242" y="21986"/>
                    <a:pt x="11745" y="18610"/>
                  </a:cubicBezTo>
                  <a:cubicBezTo>
                    <a:pt x="13231" y="15282"/>
                    <a:pt x="15089" y="11146"/>
                    <a:pt x="15121" y="9337"/>
                  </a:cubicBezTo>
                  <a:cubicBezTo>
                    <a:pt x="15121" y="6009"/>
                    <a:pt x="12989" y="2956"/>
                    <a:pt x="11179" y="985"/>
                  </a:cubicBezTo>
                  <a:cubicBezTo>
                    <a:pt x="10356" y="97"/>
                    <a:pt x="10065" y="0"/>
                    <a:pt x="10016" y="0"/>
                  </a:cubicBezTo>
                  <a:cubicBezTo>
                    <a:pt x="10016" y="0"/>
                    <a:pt x="10016" y="0"/>
                    <a:pt x="10000" y="0"/>
                  </a:cubicBezTo>
                  <a:cubicBezTo>
                    <a:pt x="9919" y="0"/>
                    <a:pt x="9580" y="49"/>
                    <a:pt x="8740" y="533"/>
                  </a:cubicBezTo>
                  <a:cubicBezTo>
                    <a:pt x="1826" y="4507"/>
                    <a:pt x="-1663" y="13570"/>
                    <a:pt x="776" y="21162"/>
                  </a:cubicBezTo>
                  <a:cubicBezTo>
                    <a:pt x="1648" y="23876"/>
                    <a:pt x="3765" y="26396"/>
                    <a:pt x="6058" y="27430"/>
                  </a:cubicBezTo>
                  <a:lnTo>
                    <a:pt x="6042" y="2741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4" name="Free-form: Shape 353">
              <a:extLst>
                <a:ext uri="{FF2B5EF4-FFF2-40B4-BE49-F238E27FC236}">
                  <a16:creationId xmlns:a16="http://schemas.microsoft.com/office/drawing/2014/main" id="{0B885013-C2A5-1C92-A9AE-955AC979C663}"/>
                </a:ext>
              </a:extLst>
            </p:cNvPr>
            <p:cNvSpPr/>
            <p:nvPr/>
          </p:nvSpPr>
          <p:spPr>
            <a:xfrm>
              <a:off x="5120207" y="4818468"/>
              <a:ext cx="45268" cy="39382"/>
            </a:xfrm>
            <a:custGeom>
              <a:avLst/>
              <a:gdLst>
                <a:gd name="connsiteX0" fmla="*/ 26878 w 45268"/>
                <a:gd name="connsiteY0" fmla="*/ 36363 h 39382"/>
                <a:gd name="connsiteX1" fmla="*/ 27234 w 45268"/>
                <a:gd name="connsiteY1" fmla="*/ 36202 h 39382"/>
                <a:gd name="connsiteX2" fmla="*/ 40658 w 45268"/>
                <a:gd name="connsiteY2" fmla="*/ 32325 h 39382"/>
                <a:gd name="connsiteX3" fmla="*/ 41578 w 45268"/>
                <a:gd name="connsiteY3" fmla="*/ 32357 h 39382"/>
                <a:gd name="connsiteX4" fmla="*/ 43565 w 45268"/>
                <a:gd name="connsiteY4" fmla="*/ 32244 h 39382"/>
                <a:gd name="connsiteX5" fmla="*/ 45035 w 45268"/>
                <a:gd name="connsiteY5" fmla="*/ 29417 h 39382"/>
                <a:gd name="connsiteX6" fmla="*/ 31708 w 45268"/>
                <a:gd name="connsiteY6" fmla="*/ 2924 h 39382"/>
                <a:gd name="connsiteX7" fmla="*/ 25037 w 45268"/>
                <a:gd name="connsiteY7" fmla="*/ 0 h 39382"/>
                <a:gd name="connsiteX8" fmla="*/ 21612 w 45268"/>
                <a:gd name="connsiteY8" fmla="*/ 1260 h 39382"/>
                <a:gd name="connsiteX9" fmla="*/ 20013 w 45268"/>
                <a:gd name="connsiteY9" fmla="*/ 3150 h 39382"/>
                <a:gd name="connsiteX10" fmla="*/ 17816 w 45268"/>
                <a:gd name="connsiteY10" fmla="*/ 5702 h 39382"/>
                <a:gd name="connsiteX11" fmla="*/ 8462 w 45268"/>
                <a:gd name="connsiteY11" fmla="*/ 10113 h 39382"/>
                <a:gd name="connsiteX12" fmla="*/ 4876 w 45268"/>
                <a:gd name="connsiteY12" fmla="*/ 11211 h 39382"/>
                <a:gd name="connsiteX13" fmla="*/ 240 w 45268"/>
                <a:gd name="connsiteY13" fmla="*/ 15201 h 39382"/>
                <a:gd name="connsiteX14" fmla="*/ 175 w 45268"/>
                <a:gd name="connsiteY14" fmla="*/ 17091 h 39382"/>
                <a:gd name="connsiteX15" fmla="*/ 3826 w 45268"/>
                <a:gd name="connsiteY15" fmla="*/ 20047 h 39382"/>
                <a:gd name="connsiteX16" fmla="*/ 10094 w 45268"/>
                <a:gd name="connsiteY16" fmla="*/ 26687 h 39382"/>
                <a:gd name="connsiteX17" fmla="*/ 9884 w 45268"/>
                <a:gd name="connsiteY17" fmla="*/ 31921 h 39382"/>
                <a:gd name="connsiteX18" fmla="*/ 9561 w 45268"/>
                <a:gd name="connsiteY18" fmla="*/ 34021 h 39382"/>
                <a:gd name="connsiteX19" fmla="*/ 15683 w 45268"/>
                <a:gd name="connsiteY19" fmla="*/ 39335 h 39382"/>
                <a:gd name="connsiteX20" fmla="*/ 26846 w 45268"/>
                <a:gd name="connsiteY20" fmla="*/ 36363 h 39382"/>
                <a:gd name="connsiteX21" fmla="*/ 26878 w 45268"/>
                <a:gd name="connsiteY21" fmla="*/ 36363 h 39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5268" h="39382">
                  <a:moveTo>
                    <a:pt x="26878" y="36363"/>
                  </a:moveTo>
                  <a:lnTo>
                    <a:pt x="27234" y="36202"/>
                  </a:lnTo>
                  <a:cubicBezTo>
                    <a:pt x="31224" y="34360"/>
                    <a:pt x="35714" y="32228"/>
                    <a:pt x="40658" y="32325"/>
                  </a:cubicBezTo>
                  <a:cubicBezTo>
                    <a:pt x="40965" y="32325"/>
                    <a:pt x="41272" y="32325"/>
                    <a:pt x="41578" y="32357"/>
                  </a:cubicBezTo>
                  <a:cubicBezTo>
                    <a:pt x="42386" y="32389"/>
                    <a:pt x="43162" y="32405"/>
                    <a:pt x="43565" y="32244"/>
                  </a:cubicBezTo>
                  <a:cubicBezTo>
                    <a:pt x="44163" y="31985"/>
                    <a:pt x="44729" y="30903"/>
                    <a:pt x="45035" y="29417"/>
                  </a:cubicBezTo>
                  <a:cubicBezTo>
                    <a:pt x="46812" y="20710"/>
                    <a:pt x="38041" y="8804"/>
                    <a:pt x="31708" y="2924"/>
                  </a:cubicBezTo>
                  <a:cubicBezTo>
                    <a:pt x="29834" y="1195"/>
                    <a:pt x="27298" y="0"/>
                    <a:pt x="25037" y="0"/>
                  </a:cubicBezTo>
                  <a:cubicBezTo>
                    <a:pt x="23744" y="0"/>
                    <a:pt x="22549" y="388"/>
                    <a:pt x="21612" y="1260"/>
                  </a:cubicBezTo>
                  <a:cubicBezTo>
                    <a:pt x="21063" y="1777"/>
                    <a:pt x="20546" y="2439"/>
                    <a:pt x="20013" y="3150"/>
                  </a:cubicBezTo>
                  <a:cubicBezTo>
                    <a:pt x="19383" y="3958"/>
                    <a:pt x="18688" y="4879"/>
                    <a:pt x="17816" y="5702"/>
                  </a:cubicBezTo>
                  <a:cubicBezTo>
                    <a:pt x="15086" y="8271"/>
                    <a:pt x="11564" y="9256"/>
                    <a:pt x="8462" y="10113"/>
                  </a:cubicBezTo>
                  <a:cubicBezTo>
                    <a:pt x="7186" y="10468"/>
                    <a:pt x="5991" y="10791"/>
                    <a:pt x="4876" y="11211"/>
                  </a:cubicBezTo>
                  <a:cubicBezTo>
                    <a:pt x="2808" y="11986"/>
                    <a:pt x="902" y="13634"/>
                    <a:pt x="240" y="15201"/>
                  </a:cubicBezTo>
                  <a:cubicBezTo>
                    <a:pt x="-148" y="16138"/>
                    <a:pt x="14" y="16720"/>
                    <a:pt x="175" y="17091"/>
                  </a:cubicBezTo>
                  <a:cubicBezTo>
                    <a:pt x="660" y="18206"/>
                    <a:pt x="2195" y="19110"/>
                    <a:pt x="3826" y="20047"/>
                  </a:cubicBezTo>
                  <a:cubicBezTo>
                    <a:pt x="6217" y="21437"/>
                    <a:pt x="9205" y="23181"/>
                    <a:pt x="10094" y="26687"/>
                  </a:cubicBezTo>
                  <a:cubicBezTo>
                    <a:pt x="10579" y="28625"/>
                    <a:pt x="10191" y="30451"/>
                    <a:pt x="9884" y="31921"/>
                  </a:cubicBezTo>
                  <a:cubicBezTo>
                    <a:pt x="9722" y="32680"/>
                    <a:pt x="9577" y="33407"/>
                    <a:pt x="9561" y="34021"/>
                  </a:cubicBezTo>
                  <a:cubicBezTo>
                    <a:pt x="9529" y="36799"/>
                    <a:pt x="12759" y="39061"/>
                    <a:pt x="15683" y="39335"/>
                  </a:cubicBezTo>
                  <a:cubicBezTo>
                    <a:pt x="19302" y="39675"/>
                    <a:pt x="23033" y="38124"/>
                    <a:pt x="26846" y="36363"/>
                  </a:cubicBezTo>
                  <a:lnTo>
                    <a:pt x="26878" y="3636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5" name="Free-form: Shape 354">
              <a:extLst>
                <a:ext uri="{FF2B5EF4-FFF2-40B4-BE49-F238E27FC236}">
                  <a16:creationId xmlns:a16="http://schemas.microsoft.com/office/drawing/2014/main" id="{328264BF-0E08-7815-A2C7-A3E7E85D02C4}"/>
                </a:ext>
              </a:extLst>
            </p:cNvPr>
            <p:cNvSpPr/>
            <p:nvPr/>
          </p:nvSpPr>
          <p:spPr>
            <a:xfrm>
              <a:off x="6674377" y="4785094"/>
              <a:ext cx="57890" cy="51849"/>
            </a:xfrm>
            <a:custGeom>
              <a:avLst/>
              <a:gdLst>
                <a:gd name="connsiteX0" fmla="*/ 55706 w 57890"/>
                <a:gd name="connsiteY0" fmla="*/ 36460 h 51849"/>
                <a:gd name="connsiteX1" fmla="*/ 41927 w 57890"/>
                <a:gd name="connsiteY1" fmla="*/ 28544 h 51849"/>
                <a:gd name="connsiteX2" fmla="*/ 33074 w 57890"/>
                <a:gd name="connsiteY2" fmla="*/ 21695 h 51849"/>
                <a:gd name="connsiteX3" fmla="*/ 13447 w 57890"/>
                <a:gd name="connsiteY3" fmla="*/ 4797 h 51849"/>
                <a:gd name="connsiteX4" fmla="*/ 2608 w 57890"/>
                <a:gd name="connsiteY4" fmla="*/ 403 h 51849"/>
                <a:gd name="connsiteX5" fmla="*/ 459 w 57890"/>
                <a:gd name="connsiteY5" fmla="*/ 7883 h 51849"/>
                <a:gd name="connsiteX6" fmla="*/ 8245 w 57890"/>
                <a:gd name="connsiteY6" fmla="*/ 14942 h 51849"/>
                <a:gd name="connsiteX7" fmla="*/ 9941 w 57890"/>
                <a:gd name="connsiteY7" fmla="*/ 15718 h 51849"/>
                <a:gd name="connsiteX8" fmla="*/ 22170 w 57890"/>
                <a:gd name="connsiteY8" fmla="*/ 27655 h 51849"/>
                <a:gd name="connsiteX9" fmla="*/ 21556 w 57890"/>
                <a:gd name="connsiteY9" fmla="*/ 32712 h 51849"/>
                <a:gd name="connsiteX10" fmla="*/ 21120 w 57890"/>
                <a:gd name="connsiteY10" fmla="*/ 34893 h 51849"/>
                <a:gd name="connsiteX11" fmla="*/ 27921 w 57890"/>
                <a:gd name="connsiteY11" fmla="*/ 36120 h 51849"/>
                <a:gd name="connsiteX12" fmla="*/ 34674 w 57890"/>
                <a:gd name="connsiteY12" fmla="*/ 40967 h 51849"/>
                <a:gd name="connsiteX13" fmla="*/ 34351 w 57890"/>
                <a:gd name="connsiteY13" fmla="*/ 45231 h 51849"/>
                <a:gd name="connsiteX14" fmla="*/ 34124 w 57890"/>
                <a:gd name="connsiteY14" fmla="*/ 46071 h 51849"/>
                <a:gd name="connsiteX15" fmla="*/ 38486 w 57890"/>
                <a:gd name="connsiteY15" fmla="*/ 51548 h 51849"/>
                <a:gd name="connsiteX16" fmla="*/ 48469 w 57890"/>
                <a:gd name="connsiteY16" fmla="*/ 50045 h 51849"/>
                <a:gd name="connsiteX17" fmla="*/ 57193 w 57890"/>
                <a:gd name="connsiteY17" fmla="*/ 43648 h 51849"/>
                <a:gd name="connsiteX18" fmla="*/ 57548 w 57890"/>
                <a:gd name="connsiteY18" fmla="*/ 38640 h 51849"/>
                <a:gd name="connsiteX19" fmla="*/ 55690 w 57890"/>
                <a:gd name="connsiteY19" fmla="*/ 36476 h 51849"/>
                <a:gd name="connsiteX20" fmla="*/ 55706 w 57890"/>
                <a:gd name="connsiteY20" fmla="*/ 36460 h 51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890" h="51849">
                  <a:moveTo>
                    <a:pt x="55706" y="36460"/>
                  </a:moveTo>
                  <a:cubicBezTo>
                    <a:pt x="55593" y="36411"/>
                    <a:pt x="45061" y="31840"/>
                    <a:pt x="41927" y="28544"/>
                  </a:cubicBezTo>
                  <a:cubicBezTo>
                    <a:pt x="38696" y="26541"/>
                    <a:pt x="35837" y="24085"/>
                    <a:pt x="33074" y="21695"/>
                  </a:cubicBezTo>
                  <a:lnTo>
                    <a:pt x="13447" y="4797"/>
                  </a:lnTo>
                  <a:cubicBezTo>
                    <a:pt x="8601" y="613"/>
                    <a:pt x="5160" y="-776"/>
                    <a:pt x="2608" y="403"/>
                  </a:cubicBezTo>
                  <a:cubicBezTo>
                    <a:pt x="136" y="1550"/>
                    <a:pt x="-575" y="5298"/>
                    <a:pt x="459" y="7883"/>
                  </a:cubicBezTo>
                  <a:cubicBezTo>
                    <a:pt x="1848" y="11372"/>
                    <a:pt x="5467" y="13650"/>
                    <a:pt x="8245" y="14942"/>
                  </a:cubicBezTo>
                  <a:cubicBezTo>
                    <a:pt x="8795" y="15201"/>
                    <a:pt x="9376" y="15459"/>
                    <a:pt x="9941" y="15718"/>
                  </a:cubicBezTo>
                  <a:cubicBezTo>
                    <a:pt x="15159" y="18044"/>
                    <a:pt x="21637" y="20952"/>
                    <a:pt x="22170" y="27655"/>
                  </a:cubicBezTo>
                  <a:cubicBezTo>
                    <a:pt x="22316" y="29497"/>
                    <a:pt x="21912" y="31210"/>
                    <a:pt x="21556" y="32712"/>
                  </a:cubicBezTo>
                  <a:cubicBezTo>
                    <a:pt x="21363" y="33503"/>
                    <a:pt x="21185" y="34230"/>
                    <a:pt x="21120" y="34893"/>
                  </a:cubicBezTo>
                  <a:lnTo>
                    <a:pt x="27921" y="36120"/>
                  </a:lnTo>
                  <a:cubicBezTo>
                    <a:pt x="29343" y="36379"/>
                    <a:pt x="33656" y="37170"/>
                    <a:pt x="34674" y="40967"/>
                  </a:cubicBezTo>
                  <a:cubicBezTo>
                    <a:pt x="35126" y="42647"/>
                    <a:pt x="34674" y="44133"/>
                    <a:pt x="34351" y="45231"/>
                  </a:cubicBezTo>
                  <a:cubicBezTo>
                    <a:pt x="34270" y="45506"/>
                    <a:pt x="34173" y="45797"/>
                    <a:pt x="34124" y="46071"/>
                  </a:cubicBezTo>
                  <a:cubicBezTo>
                    <a:pt x="33640" y="48414"/>
                    <a:pt x="36031" y="50901"/>
                    <a:pt x="38486" y="51548"/>
                  </a:cubicBezTo>
                  <a:cubicBezTo>
                    <a:pt x="41087" y="52226"/>
                    <a:pt x="44172" y="51774"/>
                    <a:pt x="48469" y="50045"/>
                  </a:cubicBezTo>
                  <a:cubicBezTo>
                    <a:pt x="53057" y="48204"/>
                    <a:pt x="55836" y="46168"/>
                    <a:pt x="57193" y="43648"/>
                  </a:cubicBezTo>
                  <a:cubicBezTo>
                    <a:pt x="57968" y="42194"/>
                    <a:pt x="58113" y="40224"/>
                    <a:pt x="57548" y="38640"/>
                  </a:cubicBezTo>
                  <a:cubicBezTo>
                    <a:pt x="57290" y="37897"/>
                    <a:pt x="56740" y="36912"/>
                    <a:pt x="55690" y="36476"/>
                  </a:cubicBezTo>
                  <a:lnTo>
                    <a:pt x="55706" y="3646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6" name="Free-form: Shape 355">
              <a:extLst>
                <a:ext uri="{FF2B5EF4-FFF2-40B4-BE49-F238E27FC236}">
                  <a16:creationId xmlns:a16="http://schemas.microsoft.com/office/drawing/2014/main" id="{116DA875-7321-93C6-E933-FFE4E462E6CE}"/>
                </a:ext>
              </a:extLst>
            </p:cNvPr>
            <p:cNvSpPr/>
            <p:nvPr/>
          </p:nvSpPr>
          <p:spPr>
            <a:xfrm>
              <a:off x="5100193" y="4868869"/>
              <a:ext cx="30329" cy="34489"/>
            </a:xfrm>
            <a:custGeom>
              <a:avLst/>
              <a:gdLst>
                <a:gd name="connsiteX0" fmla="*/ 15488 w 30329"/>
                <a:gd name="connsiteY0" fmla="*/ 5363 h 34489"/>
                <a:gd name="connsiteX1" fmla="*/ 6474 w 30329"/>
                <a:gd name="connsiteY1" fmla="*/ 0 h 34489"/>
                <a:gd name="connsiteX2" fmla="*/ 4730 w 30329"/>
                <a:gd name="connsiteY2" fmla="*/ 210 h 34489"/>
                <a:gd name="connsiteX3" fmla="*/ 416 w 30329"/>
                <a:gd name="connsiteY3" fmla="*/ 4233 h 34489"/>
                <a:gd name="connsiteX4" fmla="*/ 610 w 30329"/>
                <a:gd name="connsiteY4" fmla="*/ 8384 h 34489"/>
                <a:gd name="connsiteX5" fmla="*/ 2953 w 30329"/>
                <a:gd name="connsiteY5" fmla="*/ 10727 h 34489"/>
                <a:gd name="connsiteX6" fmla="*/ 4568 w 30329"/>
                <a:gd name="connsiteY6" fmla="*/ 12164 h 34489"/>
                <a:gd name="connsiteX7" fmla="*/ 11256 w 30329"/>
                <a:gd name="connsiteY7" fmla="*/ 22939 h 34489"/>
                <a:gd name="connsiteX8" fmla="*/ 12742 w 30329"/>
                <a:gd name="connsiteY8" fmla="*/ 26122 h 34489"/>
                <a:gd name="connsiteX9" fmla="*/ 21401 w 30329"/>
                <a:gd name="connsiteY9" fmla="*/ 34425 h 34489"/>
                <a:gd name="connsiteX10" fmla="*/ 30302 w 30329"/>
                <a:gd name="connsiteY10" fmla="*/ 27317 h 34489"/>
                <a:gd name="connsiteX11" fmla="*/ 15779 w 30329"/>
                <a:gd name="connsiteY11" fmla="*/ 5702 h 34489"/>
                <a:gd name="connsiteX12" fmla="*/ 15504 w 30329"/>
                <a:gd name="connsiteY12" fmla="*/ 5363 h 34489"/>
                <a:gd name="connsiteX13" fmla="*/ 15488 w 30329"/>
                <a:gd name="connsiteY13" fmla="*/ 5363 h 34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329" h="34489">
                  <a:moveTo>
                    <a:pt x="15488" y="5363"/>
                  </a:moveTo>
                  <a:cubicBezTo>
                    <a:pt x="13582" y="2504"/>
                    <a:pt x="10044" y="0"/>
                    <a:pt x="6474" y="0"/>
                  </a:cubicBezTo>
                  <a:cubicBezTo>
                    <a:pt x="5893" y="0"/>
                    <a:pt x="5311" y="65"/>
                    <a:pt x="4730" y="210"/>
                  </a:cubicBezTo>
                  <a:cubicBezTo>
                    <a:pt x="2888" y="663"/>
                    <a:pt x="1192" y="2246"/>
                    <a:pt x="416" y="4233"/>
                  </a:cubicBezTo>
                  <a:cubicBezTo>
                    <a:pt x="61" y="5137"/>
                    <a:pt x="-391" y="6882"/>
                    <a:pt x="610" y="8384"/>
                  </a:cubicBezTo>
                  <a:cubicBezTo>
                    <a:pt x="1143" y="9192"/>
                    <a:pt x="2016" y="9935"/>
                    <a:pt x="2953" y="10727"/>
                  </a:cubicBezTo>
                  <a:cubicBezTo>
                    <a:pt x="3502" y="11195"/>
                    <a:pt x="4051" y="11663"/>
                    <a:pt x="4568" y="12164"/>
                  </a:cubicBezTo>
                  <a:cubicBezTo>
                    <a:pt x="7783" y="15249"/>
                    <a:pt x="9544" y="19159"/>
                    <a:pt x="11256" y="22939"/>
                  </a:cubicBezTo>
                  <a:cubicBezTo>
                    <a:pt x="11740" y="24005"/>
                    <a:pt x="12225" y="25071"/>
                    <a:pt x="12742" y="26122"/>
                  </a:cubicBezTo>
                  <a:cubicBezTo>
                    <a:pt x="14454" y="29578"/>
                    <a:pt x="17346" y="33827"/>
                    <a:pt x="21401" y="34425"/>
                  </a:cubicBezTo>
                  <a:cubicBezTo>
                    <a:pt x="25504" y="35038"/>
                    <a:pt x="29494" y="31178"/>
                    <a:pt x="30302" y="27317"/>
                  </a:cubicBezTo>
                  <a:cubicBezTo>
                    <a:pt x="30770" y="25071"/>
                    <a:pt x="25358" y="16187"/>
                    <a:pt x="15779" y="5702"/>
                  </a:cubicBezTo>
                  <a:cubicBezTo>
                    <a:pt x="15682" y="5589"/>
                    <a:pt x="15585" y="5476"/>
                    <a:pt x="15504" y="5363"/>
                  </a:cubicBezTo>
                  <a:lnTo>
                    <a:pt x="15488" y="536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7" name="Free-form: Shape 356">
              <a:extLst>
                <a:ext uri="{FF2B5EF4-FFF2-40B4-BE49-F238E27FC236}">
                  <a16:creationId xmlns:a16="http://schemas.microsoft.com/office/drawing/2014/main" id="{B34389E5-E743-1C84-3770-54EBEADE59A5}"/>
                </a:ext>
              </a:extLst>
            </p:cNvPr>
            <p:cNvSpPr/>
            <p:nvPr/>
          </p:nvSpPr>
          <p:spPr>
            <a:xfrm>
              <a:off x="6794281" y="4629805"/>
              <a:ext cx="157384" cy="260560"/>
            </a:xfrm>
            <a:custGeom>
              <a:avLst/>
              <a:gdLst>
                <a:gd name="connsiteX0" fmla="*/ 155985 w 157384"/>
                <a:gd name="connsiteY0" fmla="*/ 72271 h 260560"/>
                <a:gd name="connsiteX1" fmla="*/ 152948 w 157384"/>
                <a:gd name="connsiteY1" fmla="*/ 70139 h 260560"/>
                <a:gd name="connsiteX2" fmla="*/ 149297 w 157384"/>
                <a:gd name="connsiteY2" fmla="*/ 70381 h 260560"/>
                <a:gd name="connsiteX3" fmla="*/ 144580 w 157384"/>
                <a:gd name="connsiteY3" fmla="*/ 70737 h 260560"/>
                <a:gd name="connsiteX4" fmla="*/ 135889 w 157384"/>
                <a:gd name="connsiteY4" fmla="*/ 65180 h 260560"/>
                <a:gd name="connsiteX5" fmla="*/ 134871 w 157384"/>
                <a:gd name="connsiteY5" fmla="*/ 47620 h 260560"/>
                <a:gd name="connsiteX6" fmla="*/ 139653 w 157384"/>
                <a:gd name="connsiteY6" fmla="*/ 38832 h 260560"/>
                <a:gd name="connsiteX7" fmla="*/ 145162 w 157384"/>
                <a:gd name="connsiteY7" fmla="*/ 26910 h 260560"/>
                <a:gd name="connsiteX8" fmla="*/ 142932 w 157384"/>
                <a:gd name="connsiteY8" fmla="*/ 11192 h 260560"/>
                <a:gd name="connsiteX9" fmla="*/ 134823 w 157384"/>
                <a:gd name="connsiteY9" fmla="*/ 30 h 260560"/>
                <a:gd name="connsiteX10" fmla="*/ 129492 w 157384"/>
                <a:gd name="connsiteY10" fmla="*/ 1871 h 260560"/>
                <a:gd name="connsiteX11" fmla="*/ 120187 w 157384"/>
                <a:gd name="connsiteY11" fmla="*/ 19980 h 260560"/>
                <a:gd name="connsiteX12" fmla="*/ 119428 w 157384"/>
                <a:gd name="connsiteY12" fmla="*/ 22630 h 260560"/>
                <a:gd name="connsiteX13" fmla="*/ 102111 w 157384"/>
                <a:gd name="connsiteY13" fmla="*/ 43420 h 260560"/>
                <a:gd name="connsiteX14" fmla="*/ 97200 w 157384"/>
                <a:gd name="connsiteY14" fmla="*/ 43921 h 260560"/>
                <a:gd name="connsiteX15" fmla="*/ 91659 w 157384"/>
                <a:gd name="connsiteY15" fmla="*/ 44842 h 260560"/>
                <a:gd name="connsiteX16" fmla="*/ 86086 w 157384"/>
                <a:gd name="connsiteY16" fmla="*/ 56990 h 260560"/>
                <a:gd name="connsiteX17" fmla="*/ 76765 w 157384"/>
                <a:gd name="connsiteY17" fmla="*/ 73241 h 260560"/>
                <a:gd name="connsiteX18" fmla="*/ 69108 w 157384"/>
                <a:gd name="connsiteY18" fmla="*/ 74081 h 260560"/>
                <a:gd name="connsiteX19" fmla="*/ 63696 w 157384"/>
                <a:gd name="connsiteY19" fmla="*/ 74549 h 260560"/>
                <a:gd name="connsiteX20" fmla="*/ 60675 w 157384"/>
                <a:gd name="connsiteY20" fmla="*/ 78103 h 260560"/>
                <a:gd name="connsiteX21" fmla="*/ 62113 w 157384"/>
                <a:gd name="connsiteY21" fmla="*/ 87634 h 260560"/>
                <a:gd name="connsiteX22" fmla="*/ 70255 w 157384"/>
                <a:gd name="connsiteY22" fmla="*/ 95824 h 260560"/>
                <a:gd name="connsiteX23" fmla="*/ 76183 w 157384"/>
                <a:gd name="connsiteY23" fmla="*/ 101123 h 260560"/>
                <a:gd name="connsiteX24" fmla="*/ 80464 w 157384"/>
                <a:gd name="connsiteY24" fmla="*/ 122899 h 260560"/>
                <a:gd name="connsiteX25" fmla="*/ 78025 w 157384"/>
                <a:gd name="connsiteY25" fmla="*/ 124143 h 260560"/>
                <a:gd name="connsiteX26" fmla="*/ 50805 w 157384"/>
                <a:gd name="connsiteY26" fmla="*/ 113109 h 260560"/>
                <a:gd name="connsiteX27" fmla="*/ 45296 w 157384"/>
                <a:gd name="connsiteY27" fmla="*/ 109652 h 260560"/>
                <a:gd name="connsiteX28" fmla="*/ 16025 w 157384"/>
                <a:gd name="connsiteY28" fmla="*/ 106518 h 260560"/>
                <a:gd name="connsiteX29" fmla="*/ 9192 w 157384"/>
                <a:gd name="connsiteY29" fmla="*/ 115096 h 260560"/>
                <a:gd name="connsiteX30" fmla="*/ 49 w 157384"/>
                <a:gd name="connsiteY30" fmla="*/ 136517 h 260560"/>
                <a:gd name="connsiteX31" fmla="*/ 9919 w 157384"/>
                <a:gd name="connsiteY31" fmla="*/ 152703 h 260560"/>
                <a:gd name="connsiteX32" fmla="*/ 20597 w 157384"/>
                <a:gd name="connsiteY32" fmla="*/ 151524 h 260560"/>
                <a:gd name="connsiteX33" fmla="*/ 37171 w 157384"/>
                <a:gd name="connsiteY33" fmla="*/ 151831 h 260560"/>
                <a:gd name="connsiteX34" fmla="*/ 37397 w 157384"/>
                <a:gd name="connsiteY34" fmla="*/ 151976 h 260560"/>
                <a:gd name="connsiteX35" fmla="*/ 44149 w 157384"/>
                <a:gd name="connsiteY35" fmla="*/ 153430 h 260560"/>
                <a:gd name="connsiteX36" fmla="*/ 54924 w 157384"/>
                <a:gd name="connsiteY36" fmla="*/ 159375 h 260560"/>
                <a:gd name="connsiteX37" fmla="*/ 54149 w 157384"/>
                <a:gd name="connsiteY37" fmla="*/ 174398 h 260560"/>
                <a:gd name="connsiteX38" fmla="*/ 45765 w 157384"/>
                <a:gd name="connsiteY38" fmla="*/ 181603 h 260560"/>
                <a:gd name="connsiteX39" fmla="*/ 40289 w 157384"/>
                <a:gd name="connsiteY39" fmla="*/ 182282 h 260560"/>
                <a:gd name="connsiteX40" fmla="*/ 36767 w 157384"/>
                <a:gd name="connsiteY40" fmla="*/ 182589 h 260560"/>
                <a:gd name="connsiteX41" fmla="*/ 23569 w 157384"/>
                <a:gd name="connsiteY41" fmla="*/ 199938 h 260560"/>
                <a:gd name="connsiteX42" fmla="*/ 23117 w 157384"/>
                <a:gd name="connsiteY42" fmla="*/ 202281 h 260560"/>
                <a:gd name="connsiteX43" fmla="*/ 24619 w 157384"/>
                <a:gd name="connsiteY43" fmla="*/ 203201 h 260560"/>
                <a:gd name="connsiteX44" fmla="*/ 33924 w 157384"/>
                <a:gd name="connsiteY44" fmla="*/ 204865 h 260560"/>
                <a:gd name="connsiteX45" fmla="*/ 40644 w 157384"/>
                <a:gd name="connsiteY45" fmla="*/ 205705 h 260560"/>
                <a:gd name="connsiteX46" fmla="*/ 54553 w 157384"/>
                <a:gd name="connsiteY46" fmla="*/ 218790 h 260560"/>
                <a:gd name="connsiteX47" fmla="*/ 47752 w 157384"/>
                <a:gd name="connsiteY47" fmla="*/ 231826 h 260560"/>
                <a:gd name="connsiteX48" fmla="*/ 43875 w 157384"/>
                <a:gd name="connsiteY48" fmla="*/ 236350 h 260560"/>
                <a:gd name="connsiteX49" fmla="*/ 55781 w 157384"/>
                <a:gd name="connsiteY49" fmla="*/ 246430 h 260560"/>
                <a:gd name="connsiteX50" fmla="*/ 56184 w 157384"/>
                <a:gd name="connsiteY50" fmla="*/ 249241 h 260560"/>
                <a:gd name="connsiteX51" fmla="*/ 52744 w 157384"/>
                <a:gd name="connsiteY51" fmla="*/ 254620 h 260560"/>
                <a:gd name="connsiteX52" fmla="*/ 50934 w 157384"/>
                <a:gd name="connsiteY52" fmla="*/ 257318 h 260560"/>
                <a:gd name="connsiteX53" fmla="*/ 51386 w 157384"/>
                <a:gd name="connsiteY53" fmla="*/ 257883 h 260560"/>
                <a:gd name="connsiteX54" fmla="*/ 65005 w 157384"/>
                <a:gd name="connsiteY54" fmla="*/ 260339 h 260560"/>
                <a:gd name="connsiteX55" fmla="*/ 85844 w 157384"/>
                <a:gd name="connsiteY55" fmla="*/ 255315 h 260560"/>
                <a:gd name="connsiteX56" fmla="*/ 92241 w 157384"/>
                <a:gd name="connsiteY56" fmla="*/ 239322 h 260560"/>
                <a:gd name="connsiteX57" fmla="*/ 91820 w 157384"/>
                <a:gd name="connsiteY57" fmla="*/ 238466 h 260560"/>
                <a:gd name="connsiteX58" fmla="*/ 91336 w 157384"/>
                <a:gd name="connsiteY58" fmla="*/ 229226 h 260560"/>
                <a:gd name="connsiteX59" fmla="*/ 99445 w 157384"/>
                <a:gd name="connsiteY59" fmla="*/ 227626 h 260560"/>
                <a:gd name="connsiteX60" fmla="*/ 101804 w 157384"/>
                <a:gd name="connsiteY60" fmla="*/ 227998 h 260560"/>
                <a:gd name="connsiteX61" fmla="*/ 101852 w 157384"/>
                <a:gd name="connsiteY61" fmla="*/ 227998 h 260560"/>
                <a:gd name="connsiteX62" fmla="*/ 103888 w 157384"/>
                <a:gd name="connsiteY62" fmla="*/ 226706 h 260560"/>
                <a:gd name="connsiteX63" fmla="*/ 104534 w 157384"/>
                <a:gd name="connsiteY63" fmla="*/ 222118 h 260560"/>
                <a:gd name="connsiteX64" fmla="*/ 96489 w 157384"/>
                <a:gd name="connsiteY64" fmla="*/ 215430 h 260560"/>
                <a:gd name="connsiteX65" fmla="*/ 96231 w 157384"/>
                <a:gd name="connsiteY65" fmla="*/ 215317 h 260560"/>
                <a:gd name="connsiteX66" fmla="*/ 90690 w 157384"/>
                <a:gd name="connsiteY66" fmla="*/ 211424 h 260560"/>
                <a:gd name="connsiteX67" fmla="*/ 98412 w 157384"/>
                <a:gd name="connsiteY67" fmla="*/ 195415 h 260560"/>
                <a:gd name="connsiteX68" fmla="*/ 108944 w 157384"/>
                <a:gd name="connsiteY68" fmla="*/ 167630 h 260560"/>
                <a:gd name="connsiteX69" fmla="*/ 108217 w 157384"/>
                <a:gd name="connsiteY69" fmla="*/ 164738 h 260560"/>
                <a:gd name="connsiteX70" fmla="*/ 106892 w 157384"/>
                <a:gd name="connsiteY70" fmla="*/ 156516 h 260560"/>
                <a:gd name="connsiteX71" fmla="*/ 115422 w 157384"/>
                <a:gd name="connsiteY71" fmla="*/ 145999 h 260560"/>
                <a:gd name="connsiteX72" fmla="*/ 121657 w 157384"/>
                <a:gd name="connsiteY72" fmla="*/ 148018 h 260560"/>
                <a:gd name="connsiteX73" fmla="*/ 126697 w 157384"/>
                <a:gd name="connsiteY73" fmla="*/ 160409 h 260560"/>
                <a:gd name="connsiteX74" fmla="*/ 127764 w 157384"/>
                <a:gd name="connsiteY74" fmla="*/ 167258 h 260560"/>
                <a:gd name="connsiteX75" fmla="*/ 131834 w 157384"/>
                <a:gd name="connsiteY75" fmla="*/ 155692 h 260560"/>
                <a:gd name="connsiteX76" fmla="*/ 142803 w 157384"/>
                <a:gd name="connsiteY76" fmla="*/ 150312 h 260560"/>
                <a:gd name="connsiteX77" fmla="*/ 143013 w 157384"/>
                <a:gd name="connsiteY77" fmla="*/ 150312 h 260560"/>
                <a:gd name="connsiteX78" fmla="*/ 151155 w 157384"/>
                <a:gd name="connsiteY78" fmla="*/ 154383 h 260560"/>
                <a:gd name="connsiteX79" fmla="*/ 153449 w 157384"/>
                <a:gd name="connsiteY79" fmla="*/ 159423 h 260560"/>
                <a:gd name="connsiteX80" fmla="*/ 154305 w 157384"/>
                <a:gd name="connsiteY80" fmla="*/ 161733 h 260560"/>
                <a:gd name="connsiteX81" fmla="*/ 153093 w 157384"/>
                <a:gd name="connsiteY81" fmla="*/ 142752 h 260560"/>
                <a:gd name="connsiteX82" fmla="*/ 147666 w 157384"/>
                <a:gd name="connsiteY82" fmla="*/ 136759 h 260560"/>
                <a:gd name="connsiteX83" fmla="*/ 138635 w 157384"/>
                <a:gd name="connsiteY83" fmla="*/ 122592 h 260560"/>
                <a:gd name="connsiteX84" fmla="*/ 146196 w 157384"/>
                <a:gd name="connsiteY84" fmla="*/ 103918 h 260560"/>
                <a:gd name="connsiteX85" fmla="*/ 147860 w 157384"/>
                <a:gd name="connsiteY85" fmla="*/ 101672 h 260560"/>
                <a:gd name="connsiteX86" fmla="*/ 156453 w 157384"/>
                <a:gd name="connsiteY86" fmla="*/ 84662 h 260560"/>
                <a:gd name="connsiteX87" fmla="*/ 155985 w 157384"/>
                <a:gd name="connsiteY87" fmla="*/ 72336 h 260560"/>
                <a:gd name="connsiteX88" fmla="*/ 155985 w 157384"/>
                <a:gd name="connsiteY88" fmla="*/ 72271 h 26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57384" h="260560">
                  <a:moveTo>
                    <a:pt x="155985" y="72271"/>
                  </a:moveTo>
                  <a:cubicBezTo>
                    <a:pt x="155226" y="71044"/>
                    <a:pt x="154273" y="70365"/>
                    <a:pt x="152948" y="70139"/>
                  </a:cubicBezTo>
                  <a:cubicBezTo>
                    <a:pt x="151898" y="69961"/>
                    <a:pt x="150638" y="70171"/>
                    <a:pt x="149297" y="70381"/>
                  </a:cubicBezTo>
                  <a:cubicBezTo>
                    <a:pt x="147876" y="70608"/>
                    <a:pt x="146276" y="70866"/>
                    <a:pt x="144580" y="70737"/>
                  </a:cubicBezTo>
                  <a:cubicBezTo>
                    <a:pt x="140994" y="70430"/>
                    <a:pt x="137908" y="68459"/>
                    <a:pt x="135889" y="65180"/>
                  </a:cubicBezTo>
                  <a:cubicBezTo>
                    <a:pt x="132998" y="60430"/>
                    <a:pt x="132578" y="53210"/>
                    <a:pt x="134871" y="47620"/>
                  </a:cubicBezTo>
                  <a:cubicBezTo>
                    <a:pt x="136164" y="44470"/>
                    <a:pt x="137941" y="41611"/>
                    <a:pt x="139653" y="38832"/>
                  </a:cubicBezTo>
                  <a:cubicBezTo>
                    <a:pt x="142109" y="34842"/>
                    <a:pt x="144435" y="31078"/>
                    <a:pt x="145162" y="26910"/>
                  </a:cubicBezTo>
                  <a:cubicBezTo>
                    <a:pt x="146066" y="21757"/>
                    <a:pt x="144403" y="16152"/>
                    <a:pt x="142932" y="11192"/>
                  </a:cubicBezTo>
                  <a:cubicBezTo>
                    <a:pt x="140816" y="4052"/>
                    <a:pt x="138167" y="385"/>
                    <a:pt x="134823" y="30"/>
                  </a:cubicBezTo>
                  <a:cubicBezTo>
                    <a:pt x="132642" y="-213"/>
                    <a:pt x="130542" y="1080"/>
                    <a:pt x="129492" y="1871"/>
                  </a:cubicBezTo>
                  <a:cubicBezTo>
                    <a:pt x="124242" y="5813"/>
                    <a:pt x="122174" y="13018"/>
                    <a:pt x="120187" y="19980"/>
                  </a:cubicBezTo>
                  <a:cubicBezTo>
                    <a:pt x="119929" y="20869"/>
                    <a:pt x="119686" y="21757"/>
                    <a:pt x="119428" y="22630"/>
                  </a:cubicBezTo>
                  <a:cubicBezTo>
                    <a:pt x="115906" y="34567"/>
                    <a:pt x="109929" y="41772"/>
                    <a:pt x="102111" y="43420"/>
                  </a:cubicBezTo>
                  <a:cubicBezTo>
                    <a:pt x="100431" y="43776"/>
                    <a:pt x="98783" y="43856"/>
                    <a:pt x="97200" y="43921"/>
                  </a:cubicBezTo>
                  <a:cubicBezTo>
                    <a:pt x="95132" y="44018"/>
                    <a:pt x="93177" y="44099"/>
                    <a:pt x="91659" y="44842"/>
                  </a:cubicBezTo>
                  <a:cubicBezTo>
                    <a:pt x="88040" y="46602"/>
                    <a:pt x="87087" y="51643"/>
                    <a:pt x="86086" y="56990"/>
                  </a:cubicBezTo>
                  <a:cubicBezTo>
                    <a:pt x="84890" y="63370"/>
                    <a:pt x="83533" y="70624"/>
                    <a:pt x="76765" y="73241"/>
                  </a:cubicBezTo>
                  <a:cubicBezTo>
                    <a:pt x="74164" y="74258"/>
                    <a:pt x="71482" y="74161"/>
                    <a:pt x="69108" y="74081"/>
                  </a:cubicBezTo>
                  <a:cubicBezTo>
                    <a:pt x="67105" y="74016"/>
                    <a:pt x="65198" y="73951"/>
                    <a:pt x="63696" y="74549"/>
                  </a:cubicBezTo>
                  <a:cubicBezTo>
                    <a:pt x="62242" y="75131"/>
                    <a:pt x="61225" y="76326"/>
                    <a:pt x="60675" y="78103"/>
                  </a:cubicBezTo>
                  <a:cubicBezTo>
                    <a:pt x="59771" y="80995"/>
                    <a:pt x="60352" y="84920"/>
                    <a:pt x="62113" y="87634"/>
                  </a:cubicBezTo>
                  <a:cubicBezTo>
                    <a:pt x="64132" y="90752"/>
                    <a:pt x="67105" y="93224"/>
                    <a:pt x="70255" y="95824"/>
                  </a:cubicBezTo>
                  <a:cubicBezTo>
                    <a:pt x="72242" y="97472"/>
                    <a:pt x="74309" y="99184"/>
                    <a:pt x="76183" y="101123"/>
                  </a:cubicBezTo>
                  <a:cubicBezTo>
                    <a:pt x="81611" y="106745"/>
                    <a:pt x="85278" y="115952"/>
                    <a:pt x="80464" y="122899"/>
                  </a:cubicBezTo>
                  <a:cubicBezTo>
                    <a:pt x="79915" y="123690"/>
                    <a:pt x="78962" y="124159"/>
                    <a:pt x="78025" y="124143"/>
                  </a:cubicBezTo>
                  <a:cubicBezTo>
                    <a:pt x="67783" y="123981"/>
                    <a:pt x="59157" y="118456"/>
                    <a:pt x="50805" y="113109"/>
                  </a:cubicBezTo>
                  <a:cubicBezTo>
                    <a:pt x="48963" y="111930"/>
                    <a:pt x="47138" y="110751"/>
                    <a:pt x="45296" y="109652"/>
                  </a:cubicBezTo>
                  <a:cubicBezTo>
                    <a:pt x="40902" y="107019"/>
                    <a:pt x="25831" y="98990"/>
                    <a:pt x="16025" y="106518"/>
                  </a:cubicBezTo>
                  <a:cubicBezTo>
                    <a:pt x="13214" y="108683"/>
                    <a:pt x="11163" y="111946"/>
                    <a:pt x="9192" y="115096"/>
                  </a:cubicBezTo>
                  <a:cubicBezTo>
                    <a:pt x="5185" y="121493"/>
                    <a:pt x="646" y="128747"/>
                    <a:pt x="49" y="136517"/>
                  </a:cubicBezTo>
                  <a:cubicBezTo>
                    <a:pt x="-468" y="143253"/>
                    <a:pt x="3166" y="151346"/>
                    <a:pt x="9919" y="152703"/>
                  </a:cubicBezTo>
                  <a:cubicBezTo>
                    <a:pt x="13166" y="153349"/>
                    <a:pt x="16784" y="152477"/>
                    <a:pt x="20597" y="151524"/>
                  </a:cubicBezTo>
                  <a:cubicBezTo>
                    <a:pt x="25831" y="150232"/>
                    <a:pt x="31791" y="148778"/>
                    <a:pt x="37171" y="151831"/>
                  </a:cubicBezTo>
                  <a:cubicBezTo>
                    <a:pt x="37252" y="151879"/>
                    <a:pt x="37316" y="151912"/>
                    <a:pt x="37397" y="151976"/>
                  </a:cubicBezTo>
                  <a:cubicBezTo>
                    <a:pt x="39335" y="153317"/>
                    <a:pt x="41678" y="153382"/>
                    <a:pt x="44149" y="153430"/>
                  </a:cubicBezTo>
                  <a:cubicBezTo>
                    <a:pt x="47784" y="153511"/>
                    <a:pt x="52760" y="153624"/>
                    <a:pt x="54924" y="159375"/>
                  </a:cubicBezTo>
                  <a:cubicBezTo>
                    <a:pt x="56717" y="164124"/>
                    <a:pt x="56411" y="169875"/>
                    <a:pt x="54149" y="174398"/>
                  </a:cubicBezTo>
                  <a:cubicBezTo>
                    <a:pt x="52324" y="178033"/>
                    <a:pt x="49335" y="180602"/>
                    <a:pt x="45765" y="181603"/>
                  </a:cubicBezTo>
                  <a:cubicBezTo>
                    <a:pt x="43875" y="182136"/>
                    <a:pt x="42066" y="182201"/>
                    <a:pt x="40289" y="182282"/>
                  </a:cubicBezTo>
                  <a:cubicBezTo>
                    <a:pt x="39029" y="182330"/>
                    <a:pt x="37849" y="182378"/>
                    <a:pt x="36767" y="182589"/>
                  </a:cubicBezTo>
                  <a:cubicBezTo>
                    <a:pt x="29885" y="183978"/>
                    <a:pt x="26234" y="192136"/>
                    <a:pt x="23569" y="199938"/>
                  </a:cubicBezTo>
                  <a:cubicBezTo>
                    <a:pt x="23391" y="200455"/>
                    <a:pt x="22923" y="201844"/>
                    <a:pt x="23117" y="202281"/>
                  </a:cubicBezTo>
                  <a:cubicBezTo>
                    <a:pt x="23133" y="202329"/>
                    <a:pt x="23343" y="202700"/>
                    <a:pt x="24619" y="203201"/>
                  </a:cubicBezTo>
                  <a:cubicBezTo>
                    <a:pt x="27446" y="204300"/>
                    <a:pt x="30596" y="204574"/>
                    <a:pt x="33924" y="204865"/>
                  </a:cubicBezTo>
                  <a:cubicBezTo>
                    <a:pt x="36121" y="205059"/>
                    <a:pt x="38382" y="205253"/>
                    <a:pt x="40644" y="205705"/>
                  </a:cubicBezTo>
                  <a:cubicBezTo>
                    <a:pt x="47316" y="207030"/>
                    <a:pt x="54213" y="211585"/>
                    <a:pt x="54553" y="218790"/>
                  </a:cubicBezTo>
                  <a:cubicBezTo>
                    <a:pt x="54811" y="224396"/>
                    <a:pt x="51063" y="228337"/>
                    <a:pt x="47752" y="231826"/>
                  </a:cubicBezTo>
                  <a:cubicBezTo>
                    <a:pt x="46298" y="233345"/>
                    <a:pt x="44909" y="234815"/>
                    <a:pt x="43875" y="236350"/>
                  </a:cubicBezTo>
                  <a:cubicBezTo>
                    <a:pt x="48511" y="238805"/>
                    <a:pt x="52582" y="242246"/>
                    <a:pt x="55781" y="246430"/>
                  </a:cubicBezTo>
                  <a:cubicBezTo>
                    <a:pt x="56394" y="247238"/>
                    <a:pt x="56540" y="248304"/>
                    <a:pt x="56184" y="249241"/>
                  </a:cubicBezTo>
                  <a:cubicBezTo>
                    <a:pt x="55344" y="251422"/>
                    <a:pt x="53955" y="253118"/>
                    <a:pt x="52744" y="254620"/>
                  </a:cubicBezTo>
                  <a:cubicBezTo>
                    <a:pt x="52065" y="255444"/>
                    <a:pt x="50950" y="256833"/>
                    <a:pt x="50934" y="257318"/>
                  </a:cubicBezTo>
                  <a:cubicBezTo>
                    <a:pt x="50934" y="257318"/>
                    <a:pt x="50999" y="257512"/>
                    <a:pt x="51386" y="257883"/>
                  </a:cubicBezTo>
                  <a:cubicBezTo>
                    <a:pt x="54456" y="260920"/>
                    <a:pt x="60029" y="260743"/>
                    <a:pt x="65005" y="260339"/>
                  </a:cubicBezTo>
                  <a:cubicBezTo>
                    <a:pt x="71935" y="259773"/>
                    <a:pt x="79802" y="259143"/>
                    <a:pt x="85844" y="255315"/>
                  </a:cubicBezTo>
                  <a:cubicBezTo>
                    <a:pt x="91061" y="252003"/>
                    <a:pt x="94874" y="244782"/>
                    <a:pt x="92241" y="239322"/>
                  </a:cubicBezTo>
                  <a:lnTo>
                    <a:pt x="91820" y="238466"/>
                  </a:lnTo>
                  <a:cubicBezTo>
                    <a:pt x="90657" y="236188"/>
                    <a:pt x="88719" y="232376"/>
                    <a:pt x="91336" y="229226"/>
                  </a:cubicBezTo>
                  <a:cubicBezTo>
                    <a:pt x="93694" y="226383"/>
                    <a:pt x="97151" y="227126"/>
                    <a:pt x="99445" y="227626"/>
                  </a:cubicBezTo>
                  <a:cubicBezTo>
                    <a:pt x="100285" y="227804"/>
                    <a:pt x="101158" y="227998"/>
                    <a:pt x="101804" y="227998"/>
                  </a:cubicBezTo>
                  <a:lnTo>
                    <a:pt x="101852" y="227998"/>
                  </a:lnTo>
                  <a:cubicBezTo>
                    <a:pt x="102822" y="227998"/>
                    <a:pt x="103484" y="227287"/>
                    <a:pt x="103888" y="226706"/>
                  </a:cubicBezTo>
                  <a:cubicBezTo>
                    <a:pt x="104792" y="225381"/>
                    <a:pt x="105051" y="223507"/>
                    <a:pt x="104534" y="222118"/>
                  </a:cubicBezTo>
                  <a:cubicBezTo>
                    <a:pt x="103548" y="219517"/>
                    <a:pt x="100931" y="217320"/>
                    <a:pt x="96489" y="215430"/>
                  </a:cubicBezTo>
                  <a:lnTo>
                    <a:pt x="96231" y="215317"/>
                  </a:lnTo>
                  <a:cubicBezTo>
                    <a:pt x="94405" y="214542"/>
                    <a:pt x="92144" y="213572"/>
                    <a:pt x="90690" y="211424"/>
                  </a:cubicBezTo>
                  <a:cubicBezTo>
                    <a:pt x="86054" y="204494"/>
                    <a:pt x="95035" y="197903"/>
                    <a:pt x="98412" y="195415"/>
                  </a:cubicBezTo>
                  <a:cubicBezTo>
                    <a:pt x="106795" y="189244"/>
                    <a:pt x="111141" y="177807"/>
                    <a:pt x="108944" y="167630"/>
                  </a:cubicBezTo>
                  <a:cubicBezTo>
                    <a:pt x="108734" y="166660"/>
                    <a:pt x="108476" y="165691"/>
                    <a:pt x="108217" y="164738"/>
                  </a:cubicBezTo>
                  <a:cubicBezTo>
                    <a:pt x="107522" y="162137"/>
                    <a:pt x="106795" y="159456"/>
                    <a:pt x="106892" y="156516"/>
                  </a:cubicBezTo>
                  <a:cubicBezTo>
                    <a:pt x="107054" y="151799"/>
                    <a:pt x="110107" y="146500"/>
                    <a:pt x="115422" y="145999"/>
                  </a:cubicBezTo>
                  <a:cubicBezTo>
                    <a:pt x="117716" y="145773"/>
                    <a:pt x="119864" y="146484"/>
                    <a:pt x="121657" y="148018"/>
                  </a:cubicBezTo>
                  <a:cubicBezTo>
                    <a:pt x="125034" y="150910"/>
                    <a:pt x="126471" y="156322"/>
                    <a:pt x="126697" y="160409"/>
                  </a:cubicBezTo>
                  <a:cubicBezTo>
                    <a:pt x="126859" y="163284"/>
                    <a:pt x="127214" y="165562"/>
                    <a:pt x="127764" y="167258"/>
                  </a:cubicBezTo>
                  <a:cubicBezTo>
                    <a:pt x="128200" y="163317"/>
                    <a:pt x="129218" y="159149"/>
                    <a:pt x="131834" y="155692"/>
                  </a:cubicBezTo>
                  <a:cubicBezTo>
                    <a:pt x="134322" y="152413"/>
                    <a:pt x="138603" y="150312"/>
                    <a:pt x="142803" y="150312"/>
                  </a:cubicBezTo>
                  <a:cubicBezTo>
                    <a:pt x="142868" y="150312"/>
                    <a:pt x="142949" y="150312"/>
                    <a:pt x="143013" y="150312"/>
                  </a:cubicBezTo>
                  <a:cubicBezTo>
                    <a:pt x="146454" y="150361"/>
                    <a:pt x="149346" y="151815"/>
                    <a:pt x="151155" y="154383"/>
                  </a:cubicBezTo>
                  <a:cubicBezTo>
                    <a:pt x="152253" y="155950"/>
                    <a:pt x="152883" y="157792"/>
                    <a:pt x="153449" y="159423"/>
                  </a:cubicBezTo>
                  <a:cubicBezTo>
                    <a:pt x="153756" y="160344"/>
                    <a:pt x="154030" y="161120"/>
                    <a:pt x="154305" y="161733"/>
                  </a:cubicBezTo>
                  <a:cubicBezTo>
                    <a:pt x="157229" y="155821"/>
                    <a:pt x="156857" y="148148"/>
                    <a:pt x="153093" y="142752"/>
                  </a:cubicBezTo>
                  <a:cubicBezTo>
                    <a:pt x="151640" y="140668"/>
                    <a:pt x="149701" y="138778"/>
                    <a:pt x="147666" y="136759"/>
                  </a:cubicBezTo>
                  <a:cubicBezTo>
                    <a:pt x="143627" y="132785"/>
                    <a:pt x="139443" y="128682"/>
                    <a:pt x="138635" y="122592"/>
                  </a:cubicBezTo>
                  <a:cubicBezTo>
                    <a:pt x="137666" y="115290"/>
                    <a:pt x="142206" y="109248"/>
                    <a:pt x="146196" y="103918"/>
                  </a:cubicBezTo>
                  <a:cubicBezTo>
                    <a:pt x="146761" y="103158"/>
                    <a:pt x="147310" y="102415"/>
                    <a:pt x="147860" y="101672"/>
                  </a:cubicBezTo>
                  <a:cubicBezTo>
                    <a:pt x="151607" y="96487"/>
                    <a:pt x="154499" y="90768"/>
                    <a:pt x="156453" y="84662"/>
                  </a:cubicBezTo>
                  <a:cubicBezTo>
                    <a:pt x="157859" y="80268"/>
                    <a:pt x="157649" y="75082"/>
                    <a:pt x="155985" y="72336"/>
                  </a:cubicBezTo>
                  <a:lnTo>
                    <a:pt x="155985" y="7227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8" name="Free-form: Shape 357">
              <a:extLst>
                <a:ext uri="{FF2B5EF4-FFF2-40B4-BE49-F238E27FC236}">
                  <a16:creationId xmlns:a16="http://schemas.microsoft.com/office/drawing/2014/main" id="{A0111C42-97FE-F3CA-19B5-78083392C3BE}"/>
                </a:ext>
              </a:extLst>
            </p:cNvPr>
            <p:cNvSpPr/>
            <p:nvPr/>
          </p:nvSpPr>
          <p:spPr>
            <a:xfrm>
              <a:off x="6762214" y="4820520"/>
              <a:ext cx="23230" cy="41032"/>
            </a:xfrm>
            <a:custGeom>
              <a:avLst/>
              <a:gdLst>
                <a:gd name="connsiteX0" fmla="*/ 14006 w 23230"/>
                <a:gd name="connsiteY0" fmla="*/ 2342 h 41032"/>
                <a:gd name="connsiteX1" fmla="*/ 11115 w 23230"/>
                <a:gd name="connsiteY1" fmla="*/ 2019 h 41032"/>
                <a:gd name="connsiteX2" fmla="*/ 7012 w 23230"/>
                <a:gd name="connsiteY2" fmla="*/ 1664 h 41032"/>
                <a:gd name="connsiteX3" fmla="*/ 3409 w 23230"/>
                <a:gd name="connsiteY3" fmla="*/ 2472 h 41032"/>
                <a:gd name="connsiteX4" fmla="*/ 130 w 23230"/>
                <a:gd name="connsiteY4" fmla="*/ 13117 h 41032"/>
                <a:gd name="connsiteX5" fmla="*/ 1 w 23230"/>
                <a:gd name="connsiteY5" fmla="*/ 32082 h 41032"/>
                <a:gd name="connsiteX6" fmla="*/ 2278 w 23230"/>
                <a:gd name="connsiteY6" fmla="*/ 40499 h 41032"/>
                <a:gd name="connsiteX7" fmla="*/ 5331 w 23230"/>
                <a:gd name="connsiteY7" fmla="*/ 40806 h 41032"/>
                <a:gd name="connsiteX8" fmla="*/ 10711 w 23230"/>
                <a:gd name="connsiteY8" fmla="*/ 35394 h 41032"/>
                <a:gd name="connsiteX9" fmla="*/ 12213 w 23230"/>
                <a:gd name="connsiteY9" fmla="*/ 27947 h 41032"/>
                <a:gd name="connsiteX10" fmla="*/ 14039 w 23230"/>
                <a:gd name="connsiteY10" fmla="*/ 19207 h 41032"/>
                <a:gd name="connsiteX11" fmla="*/ 18013 w 23230"/>
                <a:gd name="connsiteY11" fmla="*/ 11841 h 41032"/>
                <a:gd name="connsiteX12" fmla="*/ 21227 w 23230"/>
                <a:gd name="connsiteY12" fmla="*/ 6123 h 41032"/>
                <a:gd name="connsiteX13" fmla="*/ 23230 w 23230"/>
                <a:gd name="connsiteY13" fmla="*/ 0 h 41032"/>
                <a:gd name="connsiteX14" fmla="*/ 13990 w 23230"/>
                <a:gd name="connsiteY14" fmla="*/ 2342 h 41032"/>
                <a:gd name="connsiteX15" fmla="*/ 14006 w 23230"/>
                <a:gd name="connsiteY15" fmla="*/ 2342 h 41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230" h="41032">
                  <a:moveTo>
                    <a:pt x="14006" y="2342"/>
                  </a:moveTo>
                  <a:cubicBezTo>
                    <a:pt x="13053" y="2262"/>
                    <a:pt x="12084" y="2148"/>
                    <a:pt x="11115" y="2019"/>
                  </a:cubicBezTo>
                  <a:cubicBezTo>
                    <a:pt x="9677" y="1842"/>
                    <a:pt x="8288" y="1664"/>
                    <a:pt x="7012" y="1664"/>
                  </a:cubicBezTo>
                  <a:cubicBezTo>
                    <a:pt x="5639" y="1664"/>
                    <a:pt x="4411" y="1858"/>
                    <a:pt x="3409" y="2472"/>
                  </a:cubicBezTo>
                  <a:cubicBezTo>
                    <a:pt x="566" y="4200"/>
                    <a:pt x="146" y="8820"/>
                    <a:pt x="130" y="13117"/>
                  </a:cubicBezTo>
                  <a:lnTo>
                    <a:pt x="1" y="32082"/>
                  </a:lnTo>
                  <a:cubicBezTo>
                    <a:pt x="-15" y="35458"/>
                    <a:pt x="227" y="39093"/>
                    <a:pt x="2278" y="40499"/>
                  </a:cubicBezTo>
                  <a:cubicBezTo>
                    <a:pt x="3135" y="41080"/>
                    <a:pt x="4136" y="41193"/>
                    <a:pt x="5331" y="40806"/>
                  </a:cubicBezTo>
                  <a:cubicBezTo>
                    <a:pt x="7561" y="40095"/>
                    <a:pt x="9822" y="37817"/>
                    <a:pt x="10711" y="35394"/>
                  </a:cubicBezTo>
                  <a:cubicBezTo>
                    <a:pt x="11551" y="33116"/>
                    <a:pt x="11874" y="30596"/>
                    <a:pt x="12213" y="27947"/>
                  </a:cubicBezTo>
                  <a:cubicBezTo>
                    <a:pt x="12585" y="25071"/>
                    <a:pt x="12956" y="22099"/>
                    <a:pt x="14039" y="19207"/>
                  </a:cubicBezTo>
                  <a:cubicBezTo>
                    <a:pt x="15040" y="16477"/>
                    <a:pt x="16559" y="14119"/>
                    <a:pt x="18013" y="11841"/>
                  </a:cubicBezTo>
                  <a:cubicBezTo>
                    <a:pt x="19256" y="9903"/>
                    <a:pt x="20420" y="8061"/>
                    <a:pt x="21227" y="6123"/>
                  </a:cubicBezTo>
                  <a:cubicBezTo>
                    <a:pt x="22342" y="3441"/>
                    <a:pt x="22956" y="1454"/>
                    <a:pt x="23230" y="0"/>
                  </a:cubicBezTo>
                  <a:cubicBezTo>
                    <a:pt x="20840" y="1696"/>
                    <a:pt x="17334" y="2601"/>
                    <a:pt x="13990" y="2342"/>
                  </a:cubicBezTo>
                  <a:lnTo>
                    <a:pt x="14006" y="234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9" name="Free-form: Shape 358">
              <a:extLst>
                <a:ext uri="{FF2B5EF4-FFF2-40B4-BE49-F238E27FC236}">
                  <a16:creationId xmlns:a16="http://schemas.microsoft.com/office/drawing/2014/main" id="{A606E81E-0F4A-6EB8-C9AF-64EBA2516721}"/>
                </a:ext>
              </a:extLst>
            </p:cNvPr>
            <p:cNvSpPr/>
            <p:nvPr/>
          </p:nvSpPr>
          <p:spPr>
            <a:xfrm>
              <a:off x="5244508" y="4553584"/>
              <a:ext cx="46236" cy="34999"/>
            </a:xfrm>
            <a:custGeom>
              <a:avLst/>
              <a:gdLst>
                <a:gd name="connsiteX0" fmla="*/ 33862 w 46236"/>
                <a:gd name="connsiteY0" fmla="*/ 2426 h 34999"/>
                <a:gd name="connsiteX1" fmla="*/ 31051 w 46236"/>
                <a:gd name="connsiteY1" fmla="*/ 5479 h 34999"/>
                <a:gd name="connsiteX2" fmla="*/ 26980 w 46236"/>
                <a:gd name="connsiteY2" fmla="*/ 9728 h 34999"/>
                <a:gd name="connsiteX3" fmla="*/ 14735 w 46236"/>
                <a:gd name="connsiteY3" fmla="*/ 12183 h 34999"/>
                <a:gd name="connsiteX4" fmla="*/ 8677 w 46236"/>
                <a:gd name="connsiteY4" fmla="*/ 6142 h 34999"/>
                <a:gd name="connsiteX5" fmla="*/ 4978 w 46236"/>
                <a:gd name="connsiteY5" fmla="*/ 2507 h 34999"/>
                <a:gd name="connsiteX6" fmla="*/ 4768 w 46236"/>
                <a:gd name="connsiteY6" fmla="*/ 2523 h 34999"/>
                <a:gd name="connsiteX7" fmla="*/ 2700 w 46236"/>
                <a:gd name="connsiteY7" fmla="*/ 4171 h 34999"/>
                <a:gd name="connsiteX8" fmla="*/ 8015 w 46236"/>
                <a:gd name="connsiteY8" fmla="*/ 29113 h 34999"/>
                <a:gd name="connsiteX9" fmla="*/ 37706 w 46236"/>
                <a:gd name="connsiteY9" fmla="*/ 30131 h 34999"/>
                <a:gd name="connsiteX10" fmla="*/ 46236 w 46236"/>
                <a:gd name="connsiteY10" fmla="*/ 11666 h 34999"/>
                <a:gd name="connsiteX11" fmla="*/ 42052 w 46236"/>
                <a:gd name="connsiteY11" fmla="*/ 811 h 34999"/>
                <a:gd name="connsiteX12" fmla="*/ 33894 w 46236"/>
                <a:gd name="connsiteY12" fmla="*/ 2426 h 34999"/>
                <a:gd name="connsiteX13" fmla="*/ 33862 w 46236"/>
                <a:gd name="connsiteY13" fmla="*/ 2426 h 3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236" h="34999">
                  <a:moveTo>
                    <a:pt x="33862" y="2426"/>
                  </a:moveTo>
                  <a:cubicBezTo>
                    <a:pt x="32892" y="3331"/>
                    <a:pt x="31988" y="4381"/>
                    <a:pt x="31051" y="5479"/>
                  </a:cubicBezTo>
                  <a:cubicBezTo>
                    <a:pt x="29823" y="6917"/>
                    <a:pt x="28547" y="8403"/>
                    <a:pt x="26980" y="9728"/>
                  </a:cubicBezTo>
                  <a:cubicBezTo>
                    <a:pt x="23943" y="12280"/>
                    <a:pt x="19129" y="14283"/>
                    <a:pt x="14735" y="12183"/>
                  </a:cubicBezTo>
                  <a:cubicBezTo>
                    <a:pt x="11989" y="10875"/>
                    <a:pt x="10228" y="8371"/>
                    <a:pt x="8677" y="6142"/>
                  </a:cubicBezTo>
                  <a:cubicBezTo>
                    <a:pt x="6981" y="3718"/>
                    <a:pt x="6012" y="2507"/>
                    <a:pt x="4978" y="2507"/>
                  </a:cubicBezTo>
                  <a:cubicBezTo>
                    <a:pt x="4913" y="2507"/>
                    <a:pt x="4833" y="2507"/>
                    <a:pt x="4768" y="2523"/>
                  </a:cubicBezTo>
                  <a:cubicBezTo>
                    <a:pt x="4186" y="2620"/>
                    <a:pt x="3443" y="3202"/>
                    <a:pt x="2700" y="4171"/>
                  </a:cubicBezTo>
                  <a:cubicBezTo>
                    <a:pt x="-2954" y="11456"/>
                    <a:pt x="972" y="23168"/>
                    <a:pt x="8015" y="29113"/>
                  </a:cubicBezTo>
                  <a:cubicBezTo>
                    <a:pt x="15866" y="35720"/>
                    <a:pt x="29662" y="37707"/>
                    <a:pt x="37706" y="30131"/>
                  </a:cubicBezTo>
                  <a:cubicBezTo>
                    <a:pt x="42827" y="25300"/>
                    <a:pt x="46171" y="18047"/>
                    <a:pt x="46236" y="11666"/>
                  </a:cubicBezTo>
                  <a:cubicBezTo>
                    <a:pt x="46268" y="7385"/>
                    <a:pt x="44863" y="3735"/>
                    <a:pt x="42052" y="811"/>
                  </a:cubicBezTo>
                  <a:cubicBezTo>
                    <a:pt x="38869" y="-627"/>
                    <a:pt x="36689" y="-191"/>
                    <a:pt x="33894" y="2426"/>
                  </a:cubicBezTo>
                  <a:lnTo>
                    <a:pt x="33862" y="242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0" name="Free-form: Shape 359">
              <a:extLst>
                <a:ext uri="{FF2B5EF4-FFF2-40B4-BE49-F238E27FC236}">
                  <a16:creationId xmlns:a16="http://schemas.microsoft.com/office/drawing/2014/main" id="{F53DB608-53E3-A9ED-FCEE-02A430023638}"/>
                </a:ext>
              </a:extLst>
            </p:cNvPr>
            <p:cNvSpPr/>
            <p:nvPr/>
          </p:nvSpPr>
          <p:spPr>
            <a:xfrm>
              <a:off x="5440826" y="2139527"/>
              <a:ext cx="130044" cy="198271"/>
            </a:xfrm>
            <a:custGeom>
              <a:avLst/>
              <a:gdLst>
                <a:gd name="connsiteX0" fmla="*/ 7277 w 130044"/>
                <a:gd name="connsiteY0" fmla="*/ 45565 h 198271"/>
                <a:gd name="connsiteX1" fmla="*/ 10233 w 130044"/>
                <a:gd name="connsiteY1" fmla="*/ 47164 h 198271"/>
                <a:gd name="connsiteX2" fmla="*/ 17664 w 130044"/>
                <a:gd name="connsiteY2" fmla="*/ 52640 h 198271"/>
                <a:gd name="connsiteX3" fmla="*/ 17712 w 130044"/>
                <a:gd name="connsiteY3" fmla="*/ 69279 h 198271"/>
                <a:gd name="connsiteX4" fmla="*/ 12058 w 130044"/>
                <a:gd name="connsiteY4" fmla="*/ 79133 h 198271"/>
                <a:gd name="connsiteX5" fmla="*/ 4870 w 130044"/>
                <a:gd name="connsiteY5" fmla="*/ 99051 h 198271"/>
                <a:gd name="connsiteX6" fmla="*/ 17389 w 130044"/>
                <a:gd name="connsiteY6" fmla="*/ 115933 h 198271"/>
                <a:gd name="connsiteX7" fmla="*/ 18956 w 130044"/>
                <a:gd name="connsiteY7" fmla="*/ 117322 h 198271"/>
                <a:gd name="connsiteX8" fmla="*/ 30636 w 130044"/>
                <a:gd name="connsiteY8" fmla="*/ 141909 h 198271"/>
                <a:gd name="connsiteX9" fmla="*/ 22930 w 130044"/>
                <a:gd name="connsiteY9" fmla="*/ 154444 h 198271"/>
                <a:gd name="connsiteX10" fmla="*/ 16921 w 130044"/>
                <a:gd name="connsiteY10" fmla="*/ 162909 h 198271"/>
                <a:gd name="connsiteX11" fmla="*/ 31492 w 130044"/>
                <a:gd name="connsiteY11" fmla="*/ 187996 h 198271"/>
                <a:gd name="connsiteX12" fmla="*/ 48906 w 130044"/>
                <a:gd name="connsiteY12" fmla="*/ 190840 h 198271"/>
                <a:gd name="connsiteX13" fmla="*/ 58292 w 130044"/>
                <a:gd name="connsiteY13" fmla="*/ 179386 h 198271"/>
                <a:gd name="connsiteX14" fmla="*/ 60246 w 130044"/>
                <a:gd name="connsiteY14" fmla="*/ 176398 h 198271"/>
                <a:gd name="connsiteX15" fmla="*/ 74995 w 130044"/>
                <a:gd name="connsiteY15" fmla="*/ 184491 h 198271"/>
                <a:gd name="connsiteX16" fmla="*/ 83428 w 130044"/>
                <a:gd name="connsiteY16" fmla="*/ 191938 h 198271"/>
                <a:gd name="connsiteX17" fmla="*/ 90422 w 130044"/>
                <a:gd name="connsiteY17" fmla="*/ 190016 h 198271"/>
                <a:gd name="connsiteX18" fmla="*/ 96399 w 130044"/>
                <a:gd name="connsiteY18" fmla="*/ 187754 h 198271"/>
                <a:gd name="connsiteX19" fmla="*/ 100018 w 130044"/>
                <a:gd name="connsiteY19" fmla="*/ 187350 h 198271"/>
                <a:gd name="connsiteX20" fmla="*/ 116043 w 130044"/>
                <a:gd name="connsiteY20" fmla="*/ 193166 h 198271"/>
                <a:gd name="connsiteX21" fmla="*/ 129629 w 130044"/>
                <a:gd name="connsiteY21" fmla="*/ 198271 h 198271"/>
                <a:gd name="connsiteX22" fmla="*/ 119855 w 130044"/>
                <a:gd name="connsiteY22" fmla="*/ 174427 h 198271"/>
                <a:gd name="connsiteX23" fmla="*/ 115477 w 130044"/>
                <a:gd name="connsiteY23" fmla="*/ 168304 h 198271"/>
                <a:gd name="connsiteX24" fmla="*/ 109710 w 130044"/>
                <a:gd name="connsiteY24" fmla="*/ 114527 h 198271"/>
                <a:gd name="connsiteX25" fmla="*/ 110147 w 130044"/>
                <a:gd name="connsiteY25" fmla="*/ 113429 h 198271"/>
                <a:gd name="connsiteX26" fmla="*/ 111810 w 130044"/>
                <a:gd name="connsiteY26" fmla="*/ 105432 h 198271"/>
                <a:gd name="connsiteX27" fmla="*/ 104557 w 130044"/>
                <a:gd name="connsiteY27" fmla="*/ 98777 h 198271"/>
                <a:gd name="connsiteX28" fmla="*/ 101859 w 130044"/>
                <a:gd name="connsiteY28" fmla="*/ 97145 h 198271"/>
                <a:gd name="connsiteX29" fmla="*/ 87514 w 130044"/>
                <a:gd name="connsiteY29" fmla="*/ 73657 h 198271"/>
                <a:gd name="connsiteX30" fmla="*/ 85641 w 130044"/>
                <a:gd name="connsiteY30" fmla="*/ 55887 h 198271"/>
                <a:gd name="connsiteX31" fmla="*/ 86658 w 130044"/>
                <a:gd name="connsiteY31" fmla="*/ 47406 h 198271"/>
                <a:gd name="connsiteX32" fmla="*/ 69163 w 130044"/>
                <a:gd name="connsiteY32" fmla="*/ 13757 h 198271"/>
                <a:gd name="connsiteX33" fmla="*/ 45255 w 130044"/>
                <a:gd name="connsiteY33" fmla="*/ 575 h 198271"/>
                <a:gd name="connsiteX34" fmla="*/ 35983 w 130044"/>
                <a:gd name="connsiteY34" fmla="*/ 7570 h 198271"/>
                <a:gd name="connsiteX35" fmla="*/ 22736 w 130044"/>
                <a:gd name="connsiteY35" fmla="*/ 16310 h 198271"/>
                <a:gd name="connsiteX36" fmla="*/ 17341 w 130044"/>
                <a:gd name="connsiteY36" fmla="*/ 16633 h 198271"/>
                <a:gd name="connsiteX37" fmla="*/ 14433 w 130044"/>
                <a:gd name="connsiteY37" fmla="*/ 16681 h 198271"/>
                <a:gd name="connsiteX38" fmla="*/ 411 w 130044"/>
                <a:gd name="connsiteY38" fmla="*/ 28522 h 198271"/>
                <a:gd name="connsiteX39" fmla="*/ 7277 w 130044"/>
                <a:gd name="connsiteY39" fmla="*/ 45549 h 198271"/>
                <a:gd name="connsiteX40" fmla="*/ 7277 w 130044"/>
                <a:gd name="connsiteY40" fmla="*/ 45565 h 19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30044" h="198271">
                  <a:moveTo>
                    <a:pt x="7277" y="45565"/>
                  </a:moveTo>
                  <a:cubicBezTo>
                    <a:pt x="8181" y="46130"/>
                    <a:pt x="9167" y="46631"/>
                    <a:pt x="10233" y="47164"/>
                  </a:cubicBezTo>
                  <a:cubicBezTo>
                    <a:pt x="12785" y="48456"/>
                    <a:pt x="15677" y="49926"/>
                    <a:pt x="17664" y="52640"/>
                  </a:cubicBezTo>
                  <a:cubicBezTo>
                    <a:pt x="20668" y="56792"/>
                    <a:pt x="20685" y="62850"/>
                    <a:pt x="17712" y="69279"/>
                  </a:cubicBezTo>
                  <a:cubicBezTo>
                    <a:pt x="16129" y="72704"/>
                    <a:pt x="14061" y="75967"/>
                    <a:pt x="12058" y="79133"/>
                  </a:cubicBezTo>
                  <a:cubicBezTo>
                    <a:pt x="7810" y="85853"/>
                    <a:pt x="3787" y="92218"/>
                    <a:pt x="4870" y="99051"/>
                  </a:cubicBezTo>
                  <a:cubicBezTo>
                    <a:pt x="5936" y="105755"/>
                    <a:pt x="11751" y="110925"/>
                    <a:pt x="17389" y="115933"/>
                  </a:cubicBezTo>
                  <a:lnTo>
                    <a:pt x="18956" y="117322"/>
                  </a:lnTo>
                  <a:cubicBezTo>
                    <a:pt x="28439" y="125819"/>
                    <a:pt x="32364" y="134090"/>
                    <a:pt x="30636" y="141909"/>
                  </a:cubicBezTo>
                  <a:cubicBezTo>
                    <a:pt x="29505" y="147046"/>
                    <a:pt x="26161" y="150809"/>
                    <a:pt x="22930" y="154444"/>
                  </a:cubicBezTo>
                  <a:cubicBezTo>
                    <a:pt x="20458" y="157223"/>
                    <a:pt x="18116" y="159856"/>
                    <a:pt x="16921" y="162909"/>
                  </a:cubicBezTo>
                  <a:cubicBezTo>
                    <a:pt x="13237" y="172295"/>
                    <a:pt x="21444" y="183037"/>
                    <a:pt x="31492" y="187996"/>
                  </a:cubicBezTo>
                  <a:cubicBezTo>
                    <a:pt x="35983" y="190210"/>
                    <a:pt x="42654" y="192504"/>
                    <a:pt x="48906" y="190840"/>
                  </a:cubicBezTo>
                  <a:cubicBezTo>
                    <a:pt x="53768" y="189547"/>
                    <a:pt x="58744" y="184798"/>
                    <a:pt x="58292" y="179386"/>
                  </a:cubicBezTo>
                  <a:cubicBezTo>
                    <a:pt x="58178" y="178062"/>
                    <a:pt x="58986" y="176834"/>
                    <a:pt x="60246" y="176398"/>
                  </a:cubicBezTo>
                  <a:cubicBezTo>
                    <a:pt x="67079" y="174055"/>
                    <a:pt x="71473" y="179839"/>
                    <a:pt x="74995" y="184491"/>
                  </a:cubicBezTo>
                  <a:cubicBezTo>
                    <a:pt x="77580" y="187900"/>
                    <a:pt x="80261" y="191437"/>
                    <a:pt x="83428" y="191938"/>
                  </a:cubicBezTo>
                  <a:cubicBezTo>
                    <a:pt x="85576" y="192293"/>
                    <a:pt x="87821" y="191243"/>
                    <a:pt x="90422" y="190016"/>
                  </a:cubicBezTo>
                  <a:cubicBezTo>
                    <a:pt x="92296" y="189143"/>
                    <a:pt x="94235" y="188239"/>
                    <a:pt x="96399" y="187754"/>
                  </a:cubicBezTo>
                  <a:cubicBezTo>
                    <a:pt x="97627" y="187480"/>
                    <a:pt x="98839" y="187350"/>
                    <a:pt x="100018" y="187350"/>
                  </a:cubicBezTo>
                  <a:cubicBezTo>
                    <a:pt x="105769" y="187350"/>
                    <a:pt x="110987" y="190290"/>
                    <a:pt x="116043" y="193166"/>
                  </a:cubicBezTo>
                  <a:cubicBezTo>
                    <a:pt x="120728" y="195815"/>
                    <a:pt x="125267" y="198335"/>
                    <a:pt x="129629" y="198271"/>
                  </a:cubicBezTo>
                  <a:cubicBezTo>
                    <a:pt x="131696" y="190517"/>
                    <a:pt x="125687" y="182342"/>
                    <a:pt x="119855" y="174427"/>
                  </a:cubicBezTo>
                  <a:cubicBezTo>
                    <a:pt x="118369" y="172424"/>
                    <a:pt x="116851" y="170340"/>
                    <a:pt x="115477" y="168304"/>
                  </a:cubicBezTo>
                  <a:cubicBezTo>
                    <a:pt x="104977" y="152651"/>
                    <a:pt x="102764" y="132054"/>
                    <a:pt x="109710" y="114527"/>
                  </a:cubicBezTo>
                  <a:lnTo>
                    <a:pt x="110147" y="113429"/>
                  </a:lnTo>
                  <a:cubicBezTo>
                    <a:pt x="111326" y="110521"/>
                    <a:pt x="112441" y="107775"/>
                    <a:pt x="111810" y="105432"/>
                  </a:cubicBezTo>
                  <a:cubicBezTo>
                    <a:pt x="111051" y="102573"/>
                    <a:pt x="107901" y="100731"/>
                    <a:pt x="104557" y="98777"/>
                  </a:cubicBezTo>
                  <a:cubicBezTo>
                    <a:pt x="103636" y="98244"/>
                    <a:pt x="102732" y="97694"/>
                    <a:pt x="101859" y="97145"/>
                  </a:cubicBezTo>
                  <a:cubicBezTo>
                    <a:pt x="92958" y="91443"/>
                    <a:pt x="86222" y="86031"/>
                    <a:pt x="87514" y="73657"/>
                  </a:cubicBezTo>
                  <a:cubicBezTo>
                    <a:pt x="83298" y="68585"/>
                    <a:pt x="84542" y="61864"/>
                    <a:pt x="85641" y="55887"/>
                  </a:cubicBezTo>
                  <a:cubicBezTo>
                    <a:pt x="86174" y="53012"/>
                    <a:pt x="86723" y="50040"/>
                    <a:pt x="86658" y="47406"/>
                  </a:cubicBezTo>
                  <a:cubicBezTo>
                    <a:pt x="86384" y="35258"/>
                    <a:pt x="78226" y="24564"/>
                    <a:pt x="69163" y="13757"/>
                  </a:cubicBezTo>
                  <a:cubicBezTo>
                    <a:pt x="59826" y="2643"/>
                    <a:pt x="52024" y="-1670"/>
                    <a:pt x="45255" y="575"/>
                  </a:cubicBezTo>
                  <a:cubicBezTo>
                    <a:pt x="41798" y="1722"/>
                    <a:pt x="38971" y="4565"/>
                    <a:pt x="35983" y="7570"/>
                  </a:cubicBezTo>
                  <a:cubicBezTo>
                    <a:pt x="32235" y="11334"/>
                    <a:pt x="28358" y="15227"/>
                    <a:pt x="22736" y="16310"/>
                  </a:cubicBezTo>
                  <a:cubicBezTo>
                    <a:pt x="20862" y="16681"/>
                    <a:pt x="19069" y="16649"/>
                    <a:pt x="17341" y="16633"/>
                  </a:cubicBezTo>
                  <a:cubicBezTo>
                    <a:pt x="16371" y="16633"/>
                    <a:pt x="15402" y="16616"/>
                    <a:pt x="14433" y="16681"/>
                  </a:cubicBezTo>
                  <a:cubicBezTo>
                    <a:pt x="7987" y="17166"/>
                    <a:pt x="1962" y="22254"/>
                    <a:pt x="411" y="28522"/>
                  </a:cubicBezTo>
                  <a:cubicBezTo>
                    <a:pt x="-1140" y="34790"/>
                    <a:pt x="1816" y="42108"/>
                    <a:pt x="7277" y="45549"/>
                  </a:cubicBezTo>
                  <a:lnTo>
                    <a:pt x="7277" y="4556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1" name="Free-form: Shape 360">
              <a:extLst>
                <a:ext uri="{FF2B5EF4-FFF2-40B4-BE49-F238E27FC236}">
                  <a16:creationId xmlns:a16="http://schemas.microsoft.com/office/drawing/2014/main" id="{48304531-6211-5119-3369-212F47F914F9}"/>
                </a:ext>
              </a:extLst>
            </p:cNvPr>
            <p:cNvSpPr/>
            <p:nvPr/>
          </p:nvSpPr>
          <p:spPr>
            <a:xfrm>
              <a:off x="5126335" y="4412492"/>
              <a:ext cx="74652" cy="49172"/>
            </a:xfrm>
            <a:custGeom>
              <a:avLst/>
              <a:gdLst>
                <a:gd name="connsiteX0" fmla="*/ 20911 w 74652"/>
                <a:gd name="connsiteY0" fmla="*/ 13396 h 49172"/>
                <a:gd name="connsiteX1" fmla="*/ 17099 w 74652"/>
                <a:gd name="connsiteY1" fmla="*/ 18501 h 49172"/>
                <a:gd name="connsiteX2" fmla="*/ 14934 w 74652"/>
                <a:gd name="connsiteY2" fmla="*/ 22733 h 49172"/>
                <a:gd name="connsiteX3" fmla="*/ 7164 w 74652"/>
                <a:gd name="connsiteY3" fmla="*/ 29664 h 49172"/>
                <a:gd name="connsiteX4" fmla="*/ 4321 w 74652"/>
                <a:gd name="connsiteY4" fmla="*/ 31634 h 49172"/>
                <a:gd name="connsiteX5" fmla="*/ 169 w 74652"/>
                <a:gd name="connsiteY5" fmla="*/ 39340 h 49172"/>
                <a:gd name="connsiteX6" fmla="*/ 6066 w 74652"/>
                <a:gd name="connsiteY6" fmla="*/ 44105 h 49172"/>
                <a:gd name="connsiteX7" fmla="*/ 14417 w 74652"/>
                <a:gd name="connsiteY7" fmla="*/ 48209 h 49172"/>
                <a:gd name="connsiteX8" fmla="*/ 16970 w 74652"/>
                <a:gd name="connsiteY8" fmla="*/ 49162 h 49172"/>
                <a:gd name="connsiteX9" fmla="*/ 19974 w 74652"/>
                <a:gd name="connsiteY9" fmla="*/ 48515 h 49172"/>
                <a:gd name="connsiteX10" fmla="*/ 32510 w 74652"/>
                <a:gd name="connsiteY10" fmla="*/ 44315 h 49172"/>
                <a:gd name="connsiteX11" fmla="*/ 33011 w 74652"/>
                <a:gd name="connsiteY11" fmla="*/ 44202 h 49172"/>
                <a:gd name="connsiteX12" fmla="*/ 39796 w 74652"/>
                <a:gd name="connsiteY12" fmla="*/ 44752 h 49172"/>
                <a:gd name="connsiteX13" fmla="*/ 48018 w 74652"/>
                <a:gd name="connsiteY13" fmla="*/ 45430 h 49172"/>
                <a:gd name="connsiteX14" fmla="*/ 48260 w 74652"/>
                <a:gd name="connsiteY14" fmla="*/ 39970 h 49172"/>
                <a:gd name="connsiteX15" fmla="*/ 48067 w 74652"/>
                <a:gd name="connsiteY15" fmla="*/ 34817 h 49172"/>
                <a:gd name="connsiteX16" fmla="*/ 60134 w 74652"/>
                <a:gd name="connsiteY16" fmla="*/ 19680 h 49172"/>
                <a:gd name="connsiteX17" fmla="*/ 62912 w 74652"/>
                <a:gd name="connsiteY17" fmla="*/ 18129 h 49172"/>
                <a:gd name="connsiteX18" fmla="*/ 73138 w 74652"/>
                <a:gd name="connsiteY18" fmla="*/ 10440 h 49172"/>
                <a:gd name="connsiteX19" fmla="*/ 74430 w 74652"/>
                <a:gd name="connsiteY19" fmla="*/ 4802 h 49172"/>
                <a:gd name="connsiteX20" fmla="*/ 64689 w 74652"/>
                <a:gd name="connsiteY20" fmla="*/ 440 h 49172"/>
                <a:gd name="connsiteX21" fmla="*/ 54641 w 74652"/>
                <a:gd name="connsiteY21" fmla="*/ 4 h 49172"/>
                <a:gd name="connsiteX22" fmla="*/ 44642 w 74652"/>
                <a:gd name="connsiteY22" fmla="*/ 1620 h 49172"/>
                <a:gd name="connsiteX23" fmla="*/ 35709 w 74652"/>
                <a:gd name="connsiteY23" fmla="*/ 18953 h 49172"/>
                <a:gd name="connsiteX24" fmla="*/ 34174 w 74652"/>
                <a:gd name="connsiteY24" fmla="*/ 20956 h 49172"/>
                <a:gd name="connsiteX25" fmla="*/ 31654 w 74652"/>
                <a:gd name="connsiteY25" fmla="*/ 21005 h 49172"/>
                <a:gd name="connsiteX26" fmla="*/ 25951 w 74652"/>
                <a:gd name="connsiteY26" fmla="*/ 16579 h 49172"/>
                <a:gd name="connsiteX27" fmla="*/ 21283 w 74652"/>
                <a:gd name="connsiteY27" fmla="*/ 13364 h 49172"/>
                <a:gd name="connsiteX28" fmla="*/ 20911 w 74652"/>
                <a:gd name="connsiteY28" fmla="*/ 13396 h 49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4652" h="49172">
                  <a:moveTo>
                    <a:pt x="20911" y="13396"/>
                  </a:moveTo>
                  <a:cubicBezTo>
                    <a:pt x="19377" y="13655"/>
                    <a:pt x="18440" y="15496"/>
                    <a:pt x="17099" y="18501"/>
                  </a:cubicBezTo>
                  <a:cubicBezTo>
                    <a:pt x="16469" y="19923"/>
                    <a:pt x="15807" y="21393"/>
                    <a:pt x="14934" y="22733"/>
                  </a:cubicBezTo>
                  <a:cubicBezTo>
                    <a:pt x="12915" y="25851"/>
                    <a:pt x="9991" y="27790"/>
                    <a:pt x="7164" y="29664"/>
                  </a:cubicBezTo>
                  <a:cubicBezTo>
                    <a:pt x="6195" y="30310"/>
                    <a:pt x="5226" y="30940"/>
                    <a:pt x="4321" y="31634"/>
                  </a:cubicBezTo>
                  <a:cubicBezTo>
                    <a:pt x="1656" y="33637"/>
                    <a:pt x="-655" y="36804"/>
                    <a:pt x="169" y="39340"/>
                  </a:cubicBezTo>
                  <a:cubicBezTo>
                    <a:pt x="848" y="41408"/>
                    <a:pt x="3449" y="42829"/>
                    <a:pt x="6066" y="44105"/>
                  </a:cubicBezTo>
                  <a:lnTo>
                    <a:pt x="14417" y="48209"/>
                  </a:lnTo>
                  <a:cubicBezTo>
                    <a:pt x="15306" y="48645"/>
                    <a:pt x="16227" y="49097"/>
                    <a:pt x="16970" y="49162"/>
                  </a:cubicBezTo>
                  <a:cubicBezTo>
                    <a:pt x="17810" y="49242"/>
                    <a:pt x="18908" y="48871"/>
                    <a:pt x="19974" y="48515"/>
                  </a:cubicBezTo>
                  <a:lnTo>
                    <a:pt x="32510" y="44315"/>
                  </a:lnTo>
                  <a:cubicBezTo>
                    <a:pt x="32672" y="44251"/>
                    <a:pt x="32849" y="44219"/>
                    <a:pt x="33011" y="44202"/>
                  </a:cubicBezTo>
                  <a:cubicBezTo>
                    <a:pt x="34481" y="43976"/>
                    <a:pt x="36549" y="44267"/>
                    <a:pt x="39796" y="44752"/>
                  </a:cubicBezTo>
                  <a:cubicBezTo>
                    <a:pt x="42186" y="45107"/>
                    <a:pt x="46516" y="45753"/>
                    <a:pt x="48018" y="45430"/>
                  </a:cubicBezTo>
                  <a:cubicBezTo>
                    <a:pt x="48697" y="44089"/>
                    <a:pt x="48487" y="42167"/>
                    <a:pt x="48260" y="39970"/>
                  </a:cubicBezTo>
                  <a:cubicBezTo>
                    <a:pt x="48083" y="38306"/>
                    <a:pt x="47905" y="36594"/>
                    <a:pt x="48067" y="34817"/>
                  </a:cubicBezTo>
                  <a:cubicBezTo>
                    <a:pt x="48600" y="29066"/>
                    <a:pt x="52671" y="23977"/>
                    <a:pt x="60134" y="19680"/>
                  </a:cubicBezTo>
                  <a:cubicBezTo>
                    <a:pt x="61038" y="19147"/>
                    <a:pt x="61975" y="18646"/>
                    <a:pt x="62912" y="18129"/>
                  </a:cubicBezTo>
                  <a:cubicBezTo>
                    <a:pt x="66983" y="15900"/>
                    <a:pt x="70812" y="13800"/>
                    <a:pt x="73138" y="10440"/>
                  </a:cubicBezTo>
                  <a:cubicBezTo>
                    <a:pt x="74495" y="8469"/>
                    <a:pt x="74980" y="6369"/>
                    <a:pt x="74430" y="4802"/>
                  </a:cubicBezTo>
                  <a:cubicBezTo>
                    <a:pt x="73348" y="1733"/>
                    <a:pt x="68534" y="731"/>
                    <a:pt x="64689" y="440"/>
                  </a:cubicBezTo>
                  <a:cubicBezTo>
                    <a:pt x="61345" y="182"/>
                    <a:pt x="57969" y="37"/>
                    <a:pt x="54641" y="4"/>
                  </a:cubicBezTo>
                  <a:cubicBezTo>
                    <a:pt x="51330" y="-28"/>
                    <a:pt x="47550" y="85"/>
                    <a:pt x="44642" y="1620"/>
                  </a:cubicBezTo>
                  <a:cubicBezTo>
                    <a:pt x="39085" y="4544"/>
                    <a:pt x="37114" y="12104"/>
                    <a:pt x="35709" y="18953"/>
                  </a:cubicBezTo>
                  <a:cubicBezTo>
                    <a:pt x="35531" y="19826"/>
                    <a:pt x="34966" y="20553"/>
                    <a:pt x="34174" y="20956"/>
                  </a:cubicBezTo>
                  <a:cubicBezTo>
                    <a:pt x="33382" y="21360"/>
                    <a:pt x="32462" y="21376"/>
                    <a:pt x="31654" y="21005"/>
                  </a:cubicBezTo>
                  <a:cubicBezTo>
                    <a:pt x="29360" y="19955"/>
                    <a:pt x="27551" y="18162"/>
                    <a:pt x="25951" y="16579"/>
                  </a:cubicBezTo>
                  <a:cubicBezTo>
                    <a:pt x="23964" y="14608"/>
                    <a:pt x="22624" y="13364"/>
                    <a:pt x="21283" y="13364"/>
                  </a:cubicBezTo>
                  <a:cubicBezTo>
                    <a:pt x="21154" y="13364"/>
                    <a:pt x="21041" y="13364"/>
                    <a:pt x="20911" y="1339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2" name="Free-form: Shape 361">
              <a:extLst>
                <a:ext uri="{FF2B5EF4-FFF2-40B4-BE49-F238E27FC236}">
                  <a16:creationId xmlns:a16="http://schemas.microsoft.com/office/drawing/2014/main" id="{815C1463-793C-F579-7AF4-D820E6C7B93B}"/>
                </a:ext>
              </a:extLst>
            </p:cNvPr>
            <p:cNvSpPr/>
            <p:nvPr/>
          </p:nvSpPr>
          <p:spPr>
            <a:xfrm>
              <a:off x="6697099" y="4929001"/>
              <a:ext cx="29502" cy="17570"/>
            </a:xfrm>
            <a:custGeom>
              <a:avLst/>
              <a:gdLst>
                <a:gd name="connsiteX0" fmla="*/ 24891 w 29502"/>
                <a:gd name="connsiteY0" fmla="*/ 4227 h 17570"/>
                <a:gd name="connsiteX1" fmla="*/ 24843 w 29502"/>
                <a:gd name="connsiteY1" fmla="*/ 4227 h 17570"/>
                <a:gd name="connsiteX2" fmla="*/ 20707 w 29502"/>
                <a:gd name="connsiteY2" fmla="*/ 2789 h 17570"/>
                <a:gd name="connsiteX3" fmla="*/ 5393 w 29502"/>
                <a:gd name="connsiteY3" fmla="*/ 770 h 17570"/>
                <a:gd name="connsiteX4" fmla="*/ 143 w 29502"/>
                <a:gd name="connsiteY4" fmla="*/ 10446 h 17570"/>
                <a:gd name="connsiteX5" fmla="*/ 8624 w 29502"/>
                <a:gd name="connsiteY5" fmla="*/ 17069 h 17570"/>
                <a:gd name="connsiteX6" fmla="*/ 13486 w 29502"/>
                <a:gd name="connsiteY6" fmla="*/ 15955 h 17570"/>
                <a:gd name="connsiteX7" fmla="*/ 20223 w 29502"/>
                <a:gd name="connsiteY7" fmla="*/ 14614 h 17570"/>
                <a:gd name="connsiteX8" fmla="*/ 25085 w 29502"/>
                <a:gd name="connsiteY8" fmla="*/ 15874 h 17570"/>
                <a:gd name="connsiteX9" fmla="*/ 26555 w 29502"/>
                <a:gd name="connsiteY9" fmla="*/ 16827 h 17570"/>
                <a:gd name="connsiteX10" fmla="*/ 27670 w 29502"/>
                <a:gd name="connsiteY10" fmla="*/ 17570 h 17570"/>
                <a:gd name="connsiteX11" fmla="*/ 27912 w 29502"/>
                <a:gd name="connsiteY11" fmla="*/ 17069 h 17570"/>
                <a:gd name="connsiteX12" fmla="*/ 28930 w 29502"/>
                <a:gd name="connsiteY12" fmla="*/ 7571 h 17570"/>
                <a:gd name="connsiteX13" fmla="*/ 24891 w 29502"/>
                <a:gd name="connsiteY13" fmla="*/ 4259 h 17570"/>
                <a:gd name="connsiteX14" fmla="*/ 24891 w 29502"/>
                <a:gd name="connsiteY14" fmla="*/ 4227 h 17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502" h="17570">
                  <a:moveTo>
                    <a:pt x="24891" y="4227"/>
                  </a:moveTo>
                  <a:cubicBezTo>
                    <a:pt x="24891" y="4227"/>
                    <a:pt x="24859" y="4227"/>
                    <a:pt x="24843" y="4227"/>
                  </a:cubicBezTo>
                  <a:cubicBezTo>
                    <a:pt x="23486" y="3791"/>
                    <a:pt x="22097" y="3290"/>
                    <a:pt x="20707" y="2789"/>
                  </a:cubicBezTo>
                  <a:cubicBezTo>
                    <a:pt x="15166" y="786"/>
                    <a:pt x="9916" y="-1104"/>
                    <a:pt x="5393" y="770"/>
                  </a:cubicBezTo>
                  <a:cubicBezTo>
                    <a:pt x="1726" y="2288"/>
                    <a:pt x="-616" y="6618"/>
                    <a:pt x="143" y="10446"/>
                  </a:cubicBezTo>
                  <a:cubicBezTo>
                    <a:pt x="902" y="14275"/>
                    <a:pt x="4811" y="17328"/>
                    <a:pt x="8624" y="17069"/>
                  </a:cubicBezTo>
                  <a:cubicBezTo>
                    <a:pt x="10110" y="16972"/>
                    <a:pt x="11758" y="16472"/>
                    <a:pt x="13486" y="15955"/>
                  </a:cubicBezTo>
                  <a:cubicBezTo>
                    <a:pt x="15603" y="15308"/>
                    <a:pt x="17896" y="14614"/>
                    <a:pt x="20223" y="14614"/>
                  </a:cubicBezTo>
                  <a:cubicBezTo>
                    <a:pt x="21838" y="14614"/>
                    <a:pt x="23470" y="14953"/>
                    <a:pt x="25085" y="15874"/>
                  </a:cubicBezTo>
                  <a:cubicBezTo>
                    <a:pt x="25570" y="16148"/>
                    <a:pt x="26054" y="16488"/>
                    <a:pt x="26555" y="16827"/>
                  </a:cubicBezTo>
                  <a:cubicBezTo>
                    <a:pt x="26862" y="17053"/>
                    <a:pt x="27330" y="17376"/>
                    <a:pt x="27670" y="17570"/>
                  </a:cubicBezTo>
                  <a:cubicBezTo>
                    <a:pt x="27750" y="17409"/>
                    <a:pt x="27863" y="17183"/>
                    <a:pt x="27912" y="17069"/>
                  </a:cubicBezTo>
                  <a:cubicBezTo>
                    <a:pt x="29253" y="14485"/>
                    <a:pt x="30141" y="10414"/>
                    <a:pt x="28930" y="7571"/>
                  </a:cubicBezTo>
                  <a:cubicBezTo>
                    <a:pt x="28251" y="5955"/>
                    <a:pt x="26927" y="4873"/>
                    <a:pt x="24891" y="4259"/>
                  </a:cubicBezTo>
                  <a:lnTo>
                    <a:pt x="24891" y="422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3" name="Free-form: Shape 362">
              <a:extLst>
                <a:ext uri="{FF2B5EF4-FFF2-40B4-BE49-F238E27FC236}">
                  <a16:creationId xmlns:a16="http://schemas.microsoft.com/office/drawing/2014/main" id="{F49959F5-E78E-8AC7-AEB5-F2F4516B38A1}"/>
                </a:ext>
              </a:extLst>
            </p:cNvPr>
            <p:cNvSpPr/>
            <p:nvPr/>
          </p:nvSpPr>
          <p:spPr>
            <a:xfrm>
              <a:off x="5219992" y="4593327"/>
              <a:ext cx="15119" cy="12288"/>
            </a:xfrm>
            <a:custGeom>
              <a:avLst/>
              <a:gdLst>
                <a:gd name="connsiteX0" fmla="*/ 5586 w 15119"/>
                <a:gd name="connsiteY0" fmla="*/ 0 h 12288"/>
                <a:gd name="connsiteX1" fmla="*/ 578 w 15119"/>
                <a:gd name="connsiteY1" fmla="*/ 4184 h 12288"/>
                <a:gd name="connsiteX2" fmla="*/ 626 w 15119"/>
                <a:gd name="connsiteY2" fmla="*/ 8966 h 12288"/>
                <a:gd name="connsiteX3" fmla="*/ 6184 w 15119"/>
                <a:gd name="connsiteY3" fmla="*/ 12099 h 12288"/>
                <a:gd name="connsiteX4" fmla="*/ 14374 w 15119"/>
                <a:gd name="connsiteY4" fmla="*/ 9919 h 12288"/>
                <a:gd name="connsiteX5" fmla="*/ 14455 w 15119"/>
                <a:gd name="connsiteY5" fmla="*/ 3861 h 12288"/>
                <a:gd name="connsiteX6" fmla="*/ 5586 w 15119"/>
                <a:gd name="connsiteY6" fmla="*/ 0 h 1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19" h="12288">
                  <a:moveTo>
                    <a:pt x="5586" y="0"/>
                  </a:moveTo>
                  <a:cubicBezTo>
                    <a:pt x="3550" y="372"/>
                    <a:pt x="1563" y="2035"/>
                    <a:pt x="578" y="4184"/>
                  </a:cubicBezTo>
                  <a:cubicBezTo>
                    <a:pt x="207" y="5008"/>
                    <a:pt x="-537" y="7124"/>
                    <a:pt x="626" y="8966"/>
                  </a:cubicBezTo>
                  <a:cubicBezTo>
                    <a:pt x="1612" y="10500"/>
                    <a:pt x="3631" y="11647"/>
                    <a:pt x="6184" y="12099"/>
                  </a:cubicBezTo>
                  <a:cubicBezTo>
                    <a:pt x="8768" y="12568"/>
                    <a:pt x="12451" y="12277"/>
                    <a:pt x="14374" y="9919"/>
                  </a:cubicBezTo>
                  <a:cubicBezTo>
                    <a:pt x="14891" y="9272"/>
                    <a:pt x="15715" y="6446"/>
                    <a:pt x="14455" y="3861"/>
                  </a:cubicBezTo>
                  <a:cubicBezTo>
                    <a:pt x="12871" y="614"/>
                    <a:pt x="8768" y="16"/>
                    <a:pt x="5586" y="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4" name="Free-form: Shape 363">
              <a:extLst>
                <a:ext uri="{FF2B5EF4-FFF2-40B4-BE49-F238E27FC236}">
                  <a16:creationId xmlns:a16="http://schemas.microsoft.com/office/drawing/2014/main" id="{A9F89E11-0DF5-4B46-9A1D-10117BE961F0}"/>
                </a:ext>
              </a:extLst>
            </p:cNvPr>
            <p:cNvSpPr/>
            <p:nvPr/>
          </p:nvSpPr>
          <p:spPr>
            <a:xfrm>
              <a:off x="6567308" y="4759505"/>
              <a:ext cx="37592" cy="35061"/>
            </a:xfrm>
            <a:custGeom>
              <a:avLst/>
              <a:gdLst>
                <a:gd name="connsiteX0" fmla="*/ 297 w 37592"/>
                <a:gd name="connsiteY0" fmla="*/ 15346 h 35061"/>
                <a:gd name="connsiteX1" fmla="*/ 1573 w 37592"/>
                <a:gd name="connsiteY1" fmla="*/ 29869 h 35061"/>
                <a:gd name="connsiteX2" fmla="*/ 3964 w 37592"/>
                <a:gd name="connsiteY2" fmla="*/ 34909 h 35061"/>
                <a:gd name="connsiteX3" fmla="*/ 9650 w 37592"/>
                <a:gd name="connsiteY3" fmla="*/ 32341 h 35061"/>
                <a:gd name="connsiteX4" fmla="*/ 12170 w 37592"/>
                <a:gd name="connsiteY4" fmla="*/ 28787 h 35061"/>
                <a:gd name="connsiteX5" fmla="*/ 15611 w 37592"/>
                <a:gd name="connsiteY5" fmla="*/ 24086 h 35061"/>
                <a:gd name="connsiteX6" fmla="*/ 26224 w 37592"/>
                <a:gd name="connsiteY6" fmla="*/ 17156 h 35061"/>
                <a:gd name="connsiteX7" fmla="*/ 32056 w 37592"/>
                <a:gd name="connsiteY7" fmla="*/ 14038 h 35061"/>
                <a:gd name="connsiteX8" fmla="*/ 37516 w 37592"/>
                <a:gd name="connsiteY8" fmla="*/ 6300 h 35061"/>
                <a:gd name="connsiteX9" fmla="*/ 36660 w 37592"/>
                <a:gd name="connsiteY9" fmla="*/ 2617 h 35061"/>
                <a:gd name="connsiteX10" fmla="*/ 29778 w 37592"/>
                <a:gd name="connsiteY10" fmla="*/ 81 h 35061"/>
                <a:gd name="connsiteX11" fmla="*/ 27323 w 37592"/>
                <a:gd name="connsiteY11" fmla="*/ 0 h 35061"/>
                <a:gd name="connsiteX12" fmla="*/ 3641 w 37592"/>
                <a:gd name="connsiteY12" fmla="*/ 8529 h 35061"/>
                <a:gd name="connsiteX13" fmla="*/ 232 w 37592"/>
                <a:gd name="connsiteY13" fmla="*/ 15201 h 35061"/>
                <a:gd name="connsiteX14" fmla="*/ 297 w 37592"/>
                <a:gd name="connsiteY14" fmla="*/ 15346 h 35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592" h="35061">
                  <a:moveTo>
                    <a:pt x="297" y="15346"/>
                  </a:moveTo>
                  <a:cubicBezTo>
                    <a:pt x="2025" y="19369"/>
                    <a:pt x="1912" y="26364"/>
                    <a:pt x="1573" y="29869"/>
                  </a:cubicBezTo>
                  <a:cubicBezTo>
                    <a:pt x="1379" y="31824"/>
                    <a:pt x="2252" y="34312"/>
                    <a:pt x="3964" y="34909"/>
                  </a:cubicBezTo>
                  <a:cubicBezTo>
                    <a:pt x="5822" y="35555"/>
                    <a:pt x="8212" y="34037"/>
                    <a:pt x="9650" y="32341"/>
                  </a:cubicBezTo>
                  <a:cubicBezTo>
                    <a:pt x="10555" y="31291"/>
                    <a:pt x="11330" y="30063"/>
                    <a:pt x="12170" y="28787"/>
                  </a:cubicBezTo>
                  <a:cubicBezTo>
                    <a:pt x="13188" y="27204"/>
                    <a:pt x="14238" y="25572"/>
                    <a:pt x="15611" y="24086"/>
                  </a:cubicBezTo>
                  <a:cubicBezTo>
                    <a:pt x="18632" y="20807"/>
                    <a:pt x="22493" y="18949"/>
                    <a:pt x="26224" y="17156"/>
                  </a:cubicBezTo>
                  <a:cubicBezTo>
                    <a:pt x="28308" y="16154"/>
                    <a:pt x="30279" y="15201"/>
                    <a:pt x="32056" y="14038"/>
                  </a:cubicBezTo>
                  <a:cubicBezTo>
                    <a:pt x="34834" y="12229"/>
                    <a:pt x="37080" y="9046"/>
                    <a:pt x="37516" y="6300"/>
                  </a:cubicBezTo>
                  <a:cubicBezTo>
                    <a:pt x="37742" y="4830"/>
                    <a:pt x="37468" y="3619"/>
                    <a:pt x="36660" y="2617"/>
                  </a:cubicBezTo>
                  <a:cubicBezTo>
                    <a:pt x="35481" y="1147"/>
                    <a:pt x="33235" y="323"/>
                    <a:pt x="29778" y="81"/>
                  </a:cubicBezTo>
                  <a:cubicBezTo>
                    <a:pt x="28955" y="32"/>
                    <a:pt x="28131" y="0"/>
                    <a:pt x="27323" y="0"/>
                  </a:cubicBezTo>
                  <a:cubicBezTo>
                    <a:pt x="18745" y="0"/>
                    <a:pt x="10232" y="3037"/>
                    <a:pt x="3641" y="8529"/>
                  </a:cubicBezTo>
                  <a:cubicBezTo>
                    <a:pt x="1347" y="10436"/>
                    <a:pt x="-705" y="13327"/>
                    <a:pt x="232" y="15201"/>
                  </a:cubicBezTo>
                  <a:cubicBezTo>
                    <a:pt x="248" y="15249"/>
                    <a:pt x="281" y="15298"/>
                    <a:pt x="297" y="1534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5" name="Free-form: Shape 364">
              <a:extLst>
                <a:ext uri="{FF2B5EF4-FFF2-40B4-BE49-F238E27FC236}">
                  <a16:creationId xmlns:a16="http://schemas.microsoft.com/office/drawing/2014/main" id="{3537F406-C248-8F5F-B3F0-AC5E367AD244}"/>
                </a:ext>
              </a:extLst>
            </p:cNvPr>
            <p:cNvSpPr/>
            <p:nvPr/>
          </p:nvSpPr>
          <p:spPr>
            <a:xfrm>
              <a:off x="5048154" y="4860695"/>
              <a:ext cx="39079" cy="65698"/>
            </a:xfrm>
            <a:custGeom>
              <a:avLst/>
              <a:gdLst>
                <a:gd name="connsiteX0" fmla="*/ 4251 w 39079"/>
                <a:gd name="connsiteY0" fmla="*/ 45506 h 65698"/>
                <a:gd name="connsiteX1" fmla="*/ 4429 w 39079"/>
                <a:gd name="connsiteY1" fmla="*/ 45668 h 65698"/>
                <a:gd name="connsiteX2" fmla="*/ 15979 w 39079"/>
                <a:gd name="connsiteY2" fmla="*/ 62646 h 65698"/>
                <a:gd name="connsiteX3" fmla="*/ 23394 w 39079"/>
                <a:gd name="connsiteY3" fmla="*/ 65538 h 65698"/>
                <a:gd name="connsiteX4" fmla="*/ 32424 w 39079"/>
                <a:gd name="connsiteY4" fmla="*/ 59787 h 65698"/>
                <a:gd name="connsiteX5" fmla="*/ 38514 w 39079"/>
                <a:gd name="connsiteY5" fmla="*/ 51177 h 65698"/>
                <a:gd name="connsiteX6" fmla="*/ 37335 w 39079"/>
                <a:gd name="connsiteY6" fmla="*/ 42744 h 65698"/>
                <a:gd name="connsiteX7" fmla="*/ 34621 w 39079"/>
                <a:gd name="connsiteY7" fmla="*/ 40563 h 65698"/>
                <a:gd name="connsiteX8" fmla="*/ 29371 w 39079"/>
                <a:gd name="connsiteY8" fmla="*/ 35184 h 65698"/>
                <a:gd name="connsiteX9" fmla="*/ 28499 w 39079"/>
                <a:gd name="connsiteY9" fmla="*/ 28448 h 65698"/>
                <a:gd name="connsiteX10" fmla="*/ 28935 w 39079"/>
                <a:gd name="connsiteY10" fmla="*/ 23553 h 65698"/>
                <a:gd name="connsiteX11" fmla="*/ 29290 w 39079"/>
                <a:gd name="connsiteY11" fmla="*/ 12196 h 65698"/>
                <a:gd name="connsiteX12" fmla="*/ 22425 w 39079"/>
                <a:gd name="connsiteY12" fmla="*/ 888 h 65698"/>
                <a:gd name="connsiteX13" fmla="*/ 17740 w 39079"/>
                <a:gd name="connsiteY13" fmla="*/ 0 h 65698"/>
                <a:gd name="connsiteX14" fmla="*/ 12667 w 39079"/>
                <a:gd name="connsiteY14" fmla="*/ 582 h 65698"/>
                <a:gd name="connsiteX15" fmla="*/ 3556 w 39079"/>
                <a:gd name="connsiteY15" fmla="*/ 5072 h 65698"/>
                <a:gd name="connsiteX16" fmla="*/ 2377 w 39079"/>
                <a:gd name="connsiteY16" fmla="*/ 9596 h 65698"/>
                <a:gd name="connsiteX17" fmla="*/ 3686 w 39079"/>
                <a:gd name="connsiteY17" fmla="*/ 11922 h 65698"/>
                <a:gd name="connsiteX18" fmla="*/ 5753 w 39079"/>
                <a:gd name="connsiteY18" fmla="*/ 13004 h 65698"/>
                <a:gd name="connsiteX19" fmla="*/ 11391 w 39079"/>
                <a:gd name="connsiteY19" fmla="*/ 19918 h 65698"/>
                <a:gd name="connsiteX20" fmla="*/ 9033 w 39079"/>
                <a:gd name="connsiteY20" fmla="*/ 24393 h 65698"/>
                <a:gd name="connsiteX21" fmla="*/ 7401 w 39079"/>
                <a:gd name="connsiteY21" fmla="*/ 26089 h 65698"/>
                <a:gd name="connsiteX22" fmla="*/ 1456 w 39079"/>
                <a:gd name="connsiteY22" fmla="*/ 33391 h 65698"/>
                <a:gd name="connsiteX23" fmla="*/ 972 w 39079"/>
                <a:gd name="connsiteY23" fmla="*/ 42356 h 65698"/>
                <a:gd name="connsiteX24" fmla="*/ 4267 w 39079"/>
                <a:gd name="connsiteY24" fmla="*/ 45523 h 65698"/>
                <a:gd name="connsiteX25" fmla="*/ 4251 w 39079"/>
                <a:gd name="connsiteY25" fmla="*/ 45506 h 65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079" h="65698">
                  <a:moveTo>
                    <a:pt x="4251" y="45506"/>
                  </a:moveTo>
                  <a:cubicBezTo>
                    <a:pt x="4251" y="45506"/>
                    <a:pt x="4380" y="45603"/>
                    <a:pt x="4429" y="45668"/>
                  </a:cubicBezTo>
                  <a:cubicBezTo>
                    <a:pt x="8629" y="49594"/>
                    <a:pt x="13604" y="57380"/>
                    <a:pt x="15979" y="62646"/>
                  </a:cubicBezTo>
                  <a:cubicBezTo>
                    <a:pt x="17126" y="65182"/>
                    <a:pt x="20648" y="66103"/>
                    <a:pt x="23394" y="65538"/>
                  </a:cubicBezTo>
                  <a:cubicBezTo>
                    <a:pt x="26980" y="64795"/>
                    <a:pt x="30098" y="62081"/>
                    <a:pt x="32424" y="59787"/>
                  </a:cubicBezTo>
                  <a:cubicBezTo>
                    <a:pt x="34637" y="57606"/>
                    <a:pt x="37335" y="54650"/>
                    <a:pt x="38514" y="51177"/>
                  </a:cubicBezTo>
                  <a:cubicBezTo>
                    <a:pt x="39580" y="48010"/>
                    <a:pt x="39112" y="44699"/>
                    <a:pt x="37335" y="42744"/>
                  </a:cubicBezTo>
                  <a:cubicBezTo>
                    <a:pt x="36640" y="41969"/>
                    <a:pt x="35655" y="41290"/>
                    <a:pt x="34621" y="40563"/>
                  </a:cubicBezTo>
                  <a:cubicBezTo>
                    <a:pt x="32715" y="39238"/>
                    <a:pt x="30566" y="37736"/>
                    <a:pt x="29371" y="35184"/>
                  </a:cubicBezTo>
                  <a:cubicBezTo>
                    <a:pt x="28353" y="33003"/>
                    <a:pt x="28353" y="30661"/>
                    <a:pt x="28499" y="28448"/>
                  </a:cubicBezTo>
                  <a:cubicBezTo>
                    <a:pt x="28612" y="26816"/>
                    <a:pt x="28773" y="25184"/>
                    <a:pt x="28935" y="23553"/>
                  </a:cubicBezTo>
                  <a:cubicBezTo>
                    <a:pt x="29339" y="19595"/>
                    <a:pt x="29710" y="15863"/>
                    <a:pt x="29290" y="12196"/>
                  </a:cubicBezTo>
                  <a:cubicBezTo>
                    <a:pt x="28805" y="7996"/>
                    <a:pt x="26738" y="2811"/>
                    <a:pt x="22425" y="888"/>
                  </a:cubicBezTo>
                  <a:cubicBezTo>
                    <a:pt x="21100" y="291"/>
                    <a:pt x="19565" y="0"/>
                    <a:pt x="17740" y="0"/>
                  </a:cubicBezTo>
                  <a:cubicBezTo>
                    <a:pt x="16254" y="0"/>
                    <a:pt x="14574" y="194"/>
                    <a:pt x="12667" y="582"/>
                  </a:cubicBezTo>
                  <a:cubicBezTo>
                    <a:pt x="8144" y="1502"/>
                    <a:pt x="5253" y="2924"/>
                    <a:pt x="3556" y="5072"/>
                  </a:cubicBezTo>
                  <a:cubicBezTo>
                    <a:pt x="2603" y="6284"/>
                    <a:pt x="2135" y="8045"/>
                    <a:pt x="2377" y="9596"/>
                  </a:cubicBezTo>
                  <a:cubicBezTo>
                    <a:pt x="2490" y="10323"/>
                    <a:pt x="2797" y="11324"/>
                    <a:pt x="3686" y="11922"/>
                  </a:cubicBezTo>
                  <a:cubicBezTo>
                    <a:pt x="4219" y="12293"/>
                    <a:pt x="4962" y="12633"/>
                    <a:pt x="5753" y="13004"/>
                  </a:cubicBezTo>
                  <a:cubicBezTo>
                    <a:pt x="7983" y="14054"/>
                    <a:pt x="11730" y="15799"/>
                    <a:pt x="11391" y="19918"/>
                  </a:cubicBezTo>
                  <a:cubicBezTo>
                    <a:pt x="11214" y="22083"/>
                    <a:pt x="9792" y="23585"/>
                    <a:pt x="9033" y="24393"/>
                  </a:cubicBezTo>
                  <a:cubicBezTo>
                    <a:pt x="8500" y="24958"/>
                    <a:pt x="7950" y="25524"/>
                    <a:pt x="7401" y="26089"/>
                  </a:cubicBezTo>
                  <a:cubicBezTo>
                    <a:pt x="5091" y="28480"/>
                    <a:pt x="2894" y="30741"/>
                    <a:pt x="1456" y="33391"/>
                  </a:cubicBezTo>
                  <a:cubicBezTo>
                    <a:pt x="132" y="35830"/>
                    <a:pt x="-789" y="39642"/>
                    <a:pt x="972" y="42356"/>
                  </a:cubicBezTo>
                  <a:cubicBezTo>
                    <a:pt x="1731" y="43520"/>
                    <a:pt x="3023" y="44537"/>
                    <a:pt x="4267" y="45523"/>
                  </a:cubicBezTo>
                  <a:lnTo>
                    <a:pt x="4251" y="4550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6" name="Free-form: Shape 365">
              <a:extLst>
                <a:ext uri="{FF2B5EF4-FFF2-40B4-BE49-F238E27FC236}">
                  <a16:creationId xmlns:a16="http://schemas.microsoft.com/office/drawing/2014/main" id="{6574CEB1-529F-016E-C0D8-09E53F077835}"/>
                </a:ext>
              </a:extLst>
            </p:cNvPr>
            <p:cNvSpPr/>
            <p:nvPr/>
          </p:nvSpPr>
          <p:spPr>
            <a:xfrm>
              <a:off x="6615122" y="4885847"/>
              <a:ext cx="24515" cy="18345"/>
            </a:xfrm>
            <a:custGeom>
              <a:avLst/>
              <a:gdLst>
                <a:gd name="connsiteX0" fmla="*/ 21219 w 24515"/>
                <a:gd name="connsiteY0" fmla="*/ 3409 h 18345"/>
                <a:gd name="connsiteX1" fmla="*/ 9120 w 24515"/>
                <a:gd name="connsiteY1" fmla="*/ 0 h 18345"/>
                <a:gd name="connsiteX2" fmla="*/ 5550 w 24515"/>
                <a:gd name="connsiteY2" fmla="*/ 501 h 18345"/>
                <a:gd name="connsiteX3" fmla="*/ 251 w 24515"/>
                <a:gd name="connsiteY3" fmla="*/ 6042 h 18345"/>
                <a:gd name="connsiteX4" fmla="*/ 881 w 24515"/>
                <a:gd name="connsiteY4" fmla="*/ 10210 h 18345"/>
                <a:gd name="connsiteX5" fmla="*/ 6406 w 24515"/>
                <a:gd name="connsiteY5" fmla="*/ 12988 h 18345"/>
                <a:gd name="connsiteX6" fmla="*/ 12835 w 24515"/>
                <a:gd name="connsiteY6" fmla="*/ 15847 h 18345"/>
                <a:gd name="connsiteX7" fmla="*/ 14224 w 24515"/>
                <a:gd name="connsiteY7" fmla="*/ 16962 h 18345"/>
                <a:gd name="connsiteX8" fmla="*/ 15888 w 24515"/>
                <a:gd name="connsiteY8" fmla="*/ 18173 h 18345"/>
                <a:gd name="connsiteX9" fmla="*/ 23206 w 24515"/>
                <a:gd name="connsiteY9" fmla="*/ 12455 h 18345"/>
                <a:gd name="connsiteX10" fmla="*/ 24515 w 24515"/>
                <a:gd name="connsiteY10" fmla="*/ 9450 h 18345"/>
                <a:gd name="connsiteX11" fmla="*/ 21219 w 24515"/>
                <a:gd name="connsiteY11" fmla="*/ 3425 h 18345"/>
                <a:gd name="connsiteX12" fmla="*/ 21219 w 24515"/>
                <a:gd name="connsiteY12" fmla="*/ 3409 h 1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515" h="18345">
                  <a:moveTo>
                    <a:pt x="21219" y="3409"/>
                  </a:moveTo>
                  <a:cubicBezTo>
                    <a:pt x="17197" y="1583"/>
                    <a:pt x="13029" y="0"/>
                    <a:pt x="9120" y="0"/>
                  </a:cubicBezTo>
                  <a:cubicBezTo>
                    <a:pt x="7892" y="0"/>
                    <a:pt x="6696" y="162"/>
                    <a:pt x="5550" y="501"/>
                  </a:cubicBezTo>
                  <a:cubicBezTo>
                    <a:pt x="3175" y="1228"/>
                    <a:pt x="994" y="3505"/>
                    <a:pt x="251" y="6042"/>
                  </a:cubicBezTo>
                  <a:cubicBezTo>
                    <a:pt x="-88" y="7205"/>
                    <a:pt x="-250" y="8869"/>
                    <a:pt x="881" y="10210"/>
                  </a:cubicBezTo>
                  <a:cubicBezTo>
                    <a:pt x="2060" y="11599"/>
                    <a:pt x="4079" y="12245"/>
                    <a:pt x="6406" y="12988"/>
                  </a:cubicBezTo>
                  <a:cubicBezTo>
                    <a:pt x="8473" y="13650"/>
                    <a:pt x="10816" y="14394"/>
                    <a:pt x="12835" y="15847"/>
                  </a:cubicBezTo>
                  <a:cubicBezTo>
                    <a:pt x="13320" y="16187"/>
                    <a:pt x="13772" y="16574"/>
                    <a:pt x="14224" y="16962"/>
                  </a:cubicBezTo>
                  <a:cubicBezTo>
                    <a:pt x="14822" y="17479"/>
                    <a:pt x="15387" y="17947"/>
                    <a:pt x="15888" y="18173"/>
                  </a:cubicBezTo>
                  <a:cubicBezTo>
                    <a:pt x="18182" y="19159"/>
                    <a:pt x="21268" y="15718"/>
                    <a:pt x="23206" y="12455"/>
                  </a:cubicBezTo>
                  <a:cubicBezTo>
                    <a:pt x="23804" y="11453"/>
                    <a:pt x="24482" y="10339"/>
                    <a:pt x="24515" y="9450"/>
                  </a:cubicBezTo>
                  <a:cubicBezTo>
                    <a:pt x="24579" y="8045"/>
                    <a:pt x="22398" y="4055"/>
                    <a:pt x="21219" y="3425"/>
                  </a:cubicBezTo>
                  <a:lnTo>
                    <a:pt x="21219" y="340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7" name="Free-form: Shape 366">
              <a:extLst>
                <a:ext uri="{FF2B5EF4-FFF2-40B4-BE49-F238E27FC236}">
                  <a16:creationId xmlns:a16="http://schemas.microsoft.com/office/drawing/2014/main" id="{70C2745B-AF10-8556-0138-CEEB25ABE385}"/>
                </a:ext>
              </a:extLst>
            </p:cNvPr>
            <p:cNvSpPr/>
            <p:nvPr/>
          </p:nvSpPr>
          <p:spPr>
            <a:xfrm>
              <a:off x="5023790" y="4603625"/>
              <a:ext cx="88684" cy="79535"/>
            </a:xfrm>
            <a:custGeom>
              <a:avLst/>
              <a:gdLst>
                <a:gd name="connsiteX0" fmla="*/ 12525 w 88684"/>
                <a:gd name="connsiteY0" fmla="*/ 43447 h 79535"/>
                <a:gd name="connsiteX1" fmla="*/ 2849 w 88684"/>
                <a:gd name="connsiteY1" fmla="*/ 49408 h 79535"/>
                <a:gd name="connsiteX2" fmla="*/ 6 w 88684"/>
                <a:gd name="connsiteY2" fmla="*/ 53656 h 79535"/>
                <a:gd name="connsiteX3" fmla="*/ 1007 w 88684"/>
                <a:gd name="connsiteY3" fmla="*/ 55966 h 79535"/>
                <a:gd name="connsiteX4" fmla="*/ 9698 w 88684"/>
                <a:gd name="connsiteY4" fmla="*/ 58163 h 79535"/>
                <a:gd name="connsiteX5" fmla="*/ 12121 w 88684"/>
                <a:gd name="connsiteY5" fmla="*/ 57856 h 79535"/>
                <a:gd name="connsiteX6" fmla="*/ 18825 w 88684"/>
                <a:gd name="connsiteY6" fmla="*/ 57259 h 79535"/>
                <a:gd name="connsiteX7" fmla="*/ 28405 w 88684"/>
                <a:gd name="connsiteY7" fmla="*/ 60522 h 79535"/>
                <a:gd name="connsiteX8" fmla="*/ 33364 w 88684"/>
                <a:gd name="connsiteY8" fmla="*/ 71297 h 79535"/>
                <a:gd name="connsiteX9" fmla="*/ 37241 w 88684"/>
                <a:gd name="connsiteY9" fmla="*/ 79115 h 79535"/>
                <a:gd name="connsiteX10" fmla="*/ 43186 w 88684"/>
                <a:gd name="connsiteY10" fmla="*/ 78808 h 79535"/>
                <a:gd name="connsiteX11" fmla="*/ 75220 w 88684"/>
                <a:gd name="connsiteY11" fmla="*/ 42784 h 79535"/>
                <a:gd name="connsiteX12" fmla="*/ 87044 w 88684"/>
                <a:gd name="connsiteY12" fmla="*/ 14741 h 79535"/>
                <a:gd name="connsiteX13" fmla="*/ 86786 w 88684"/>
                <a:gd name="connsiteY13" fmla="*/ 1866 h 79535"/>
                <a:gd name="connsiteX14" fmla="*/ 79436 w 88684"/>
                <a:gd name="connsiteY14" fmla="*/ 105 h 79535"/>
                <a:gd name="connsiteX15" fmla="*/ 74202 w 88684"/>
                <a:gd name="connsiteY15" fmla="*/ 3288 h 79535"/>
                <a:gd name="connsiteX16" fmla="*/ 73992 w 88684"/>
                <a:gd name="connsiteY16" fmla="*/ 3481 h 79535"/>
                <a:gd name="connsiteX17" fmla="*/ 68063 w 88684"/>
                <a:gd name="connsiteY17" fmla="*/ 16873 h 79535"/>
                <a:gd name="connsiteX18" fmla="*/ 63863 w 88684"/>
                <a:gd name="connsiteY18" fmla="*/ 27034 h 79535"/>
                <a:gd name="connsiteX19" fmla="*/ 46934 w 88684"/>
                <a:gd name="connsiteY19" fmla="*/ 26453 h 79535"/>
                <a:gd name="connsiteX20" fmla="*/ 36029 w 88684"/>
                <a:gd name="connsiteY20" fmla="*/ 23206 h 79535"/>
                <a:gd name="connsiteX21" fmla="*/ 31781 w 88684"/>
                <a:gd name="connsiteY21" fmla="*/ 27616 h 79535"/>
                <a:gd name="connsiteX22" fmla="*/ 31022 w 88684"/>
                <a:gd name="connsiteY22" fmla="*/ 28682 h 79535"/>
                <a:gd name="connsiteX23" fmla="*/ 19891 w 88684"/>
                <a:gd name="connsiteY23" fmla="*/ 39279 h 79535"/>
                <a:gd name="connsiteX24" fmla="*/ 12541 w 88684"/>
                <a:gd name="connsiteY24" fmla="*/ 43431 h 79535"/>
                <a:gd name="connsiteX25" fmla="*/ 12525 w 88684"/>
                <a:gd name="connsiteY25" fmla="*/ 43447 h 7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8684" h="79535">
                  <a:moveTo>
                    <a:pt x="12525" y="43447"/>
                  </a:moveTo>
                  <a:cubicBezTo>
                    <a:pt x="9003" y="45288"/>
                    <a:pt x="5676" y="47017"/>
                    <a:pt x="2849" y="49408"/>
                  </a:cubicBezTo>
                  <a:cubicBezTo>
                    <a:pt x="1023" y="50959"/>
                    <a:pt x="70" y="52380"/>
                    <a:pt x="6" y="53656"/>
                  </a:cubicBezTo>
                  <a:cubicBezTo>
                    <a:pt x="-27" y="54222"/>
                    <a:pt x="54" y="55062"/>
                    <a:pt x="1007" y="55966"/>
                  </a:cubicBezTo>
                  <a:cubicBezTo>
                    <a:pt x="2752" y="57598"/>
                    <a:pt x="6403" y="58535"/>
                    <a:pt x="9698" y="58163"/>
                  </a:cubicBezTo>
                  <a:cubicBezTo>
                    <a:pt x="10490" y="58082"/>
                    <a:pt x="11297" y="57969"/>
                    <a:pt x="12121" y="57856"/>
                  </a:cubicBezTo>
                  <a:cubicBezTo>
                    <a:pt x="14286" y="57566"/>
                    <a:pt x="16564" y="57259"/>
                    <a:pt x="18825" y="57259"/>
                  </a:cubicBezTo>
                  <a:cubicBezTo>
                    <a:pt x="22266" y="57259"/>
                    <a:pt x="25626" y="57969"/>
                    <a:pt x="28405" y="60522"/>
                  </a:cubicBezTo>
                  <a:cubicBezTo>
                    <a:pt x="31539" y="63413"/>
                    <a:pt x="32508" y="67597"/>
                    <a:pt x="33364" y="71297"/>
                  </a:cubicBezTo>
                  <a:cubicBezTo>
                    <a:pt x="34333" y="75481"/>
                    <a:pt x="35076" y="78098"/>
                    <a:pt x="37241" y="79115"/>
                  </a:cubicBezTo>
                  <a:cubicBezTo>
                    <a:pt x="38598" y="79761"/>
                    <a:pt x="40536" y="79664"/>
                    <a:pt x="43186" y="78808"/>
                  </a:cubicBezTo>
                  <a:cubicBezTo>
                    <a:pt x="59017" y="73704"/>
                    <a:pt x="68612" y="56871"/>
                    <a:pt x="75220" y="42784"/>
                  </a:cubicBezTo>
                  <a:cubicBezTo>
                    <a:pt x="79500" y="33625"/>
                    <a:pt x="83474" y="24191"/>
                    <a:pt x="87044" y="14741"/>
                  </a:cubicBezTo>
                  <a:cubicBezTo>
                    <a:pt x="88628" y="10541"/>
                    <a:pt x="89871" y="4887"/>
                    <a:pt x="86786" y="1866"/>
                  </a:cubicBezTo>
                  <a:cubicBezTo>
                    <a:pt x="84654" y="-202"/>
                    <a:pt x="80760" y="-105"/>
                    <a:pt x="79436" y="105"/>
                  </a:cubicBezTo>
                  <a:cubicBezTo>
                    <a:pt x="78531" y="251"/>
                    <a:pt x="76270" y="1107"/>
                    <a:pt x="74202" y="3288"/>
                  </a:cubicBezTo>
                  <a:cubicBezTo>
                    <a:pt x="74137" y="3352"/>
                    <a:pt x="74073" y="3417"/>
                    <a:pt x="73992" y="3481"/>
                  </a:cubicBezTo>
                  <a:cubicBezTo>
                    <a:pt x="70616" y="6405"/>
                    <a:pt x="69259" y="11978"/>
                    <a:pt x="68063" y="16873"/>
                  </a:cubicBezTo>
                  <a:cubicBezTo>
                    <a:pt x="67013" y="21186"/>
                    <a:pt x="66092" y="24902"/>
                    <a:pt x="63863" y="27034"/>
                  </a:cubicBezTo>
                  <a:cubicBezTo>
                    <a:pt x="60035" y="30701"/>
                    <a:pt x="53864" y="30491"/>
                    <a:pt x="46934" y="26453"/>
                  </a:cubicBezTo>
                  <a:cubicBezTo>
                    <a:pt x="43186" y="24272"/>
                    <a:pt x="39066" y="21865"/>
                    <a:pt x="36029" y="23206"/>
                  </a:cubicBezTo>
                  <a:cubicBezTo>
                    <a:pt x="34398" y="23916"/>
                    <a:pt x="33122" y="25710"/>
                    <a:pt x="31781" y="27616"/>
                  </a:cubicBezTo>
                  <a:lnTo>
                    <a:pt x="31022" y="28682"/>
                  </a:lnTo>
                  <a:cubicBezTo>
                    <a:pt x="27968" y="32866"/>
                    <a:pt x="24221" y="36420"/>
                    <a:pt x="19891" y="39279"/>
                  </a:cubicBezTo>
                  <a:cubicBezTo>
                    <a:pt x="17501" y="40846"/>
                    <a:pt x="14981" y="42154"/>
                    <a:pt x="12541" y="43431"/>
                  </a:cubicBezTo>
                  <a:lnTo>
                    <a:pt x="12525" y="4344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8" name="Free-form: Shape 367">
              <a:extLst>
                <a:ext uri="{FF2B5EF4-FFF2-40B4-BE49-F238E27FC236}">
                  <a16:creationId xmlns:a16="http://schemas.microsoft.com/office/drawing/2014/main" id="{E655A617-14A4-47F0-6166-C691656183C1}"/>
                </a:ext>
              </a:extLst>
            </p:cNvPr>
            <p:cNvSpPr/>
            <p:nvPr/>
          </p:nvSpPr>
          <p:spPr>
            <a:xfrm>
              <a:off x="6594492" y="4787889"/>
              <a:ext cx="35410" cy="28914"/>
            </a:xfrm>
            <a:custGeom>
              <a:avLst/>
              <a:gdLst>
                <a:gd name="connsiteX0" fmla="*/ 4500 w 35410"/>
                <a:gd name="connsiteY0" fmla="*/ 21662 h 28914"/>
                <a:gd name="connsiteX1" fmla="*/ 6649 w 35410"/>
                <a:gd name="connsiteY1" fmla="*/ 21112 h 28914"/>
                <a:gd name="connsiteX2" fmla="*/ 12561 w 35410"/>
                <a:gd name="connsiteY2" fmla="*/ 20046 h 28914"/>
                <a:gd name="connsiteX3" fmla="*/ 17311 w 35410"/>
                <a:gd name="connsiteY3" fmla="*/ 21322 h 28914"/>
                <a:gd name="connsiteX4" fmla="*/ 21591 w 35410"/>
                <a:gd name="connsiteY4" fmla="*/ 26136 h 28914"/>
                <a:gd name="connsiteX5" fmla="*/ 24128 w 35410"/>
                <a:gd name="connsiteY5" fmla="*/ 28915 h 28914"/>
                <a:gd name="connsiteX6" fmla="*/ 24725 w 35410"/>
                <a:gd name="connsiteY6" fmla="*/ 28608 h 28914"/>
                <a:gd name="connsiteX7" fmla="*/ 25808 w 35410"/>
                <a:gd name="connsiteY7" fmla="*/ 24472 h 28914"/>
                <a:gd name="connsiteX8" fmla="*/ 25565 w 35410"/>
                <a:gd name="connsiteY8" fmla="*/ 22486 h 28914"/>
                <a:gd name="connsiteX9" fmla="*/ 26745 w 35410"/>
                <a:gd name="connsiteY9" fmla="*/ 12777 h 28914"/>
                <a:gd name="connsiteX10" fmla="*/ 32027 w 35410"/>
                <a:gd name="connsiteY10" fmla="*/ 8464 h 28914"/>
                <a:gd name="connsiteX11" fmla="*/ 35322 w 35410"/>
                <a:gd name="connsiteY11" fmla="*/ 5798 h 28914"/>
                <a:gd name="connsiteX12" fmla="*/ 35145 w 35410"/>
                <a:gd name="connsiteY12" fmla="*/ 4296 h 28914"/>
                <a:gd name="connsiteX13" fmla="*/ 31139 w 35410"/>
                <a:gd name="connsiteY13" fmla="*/ 1340 h 28914"/>
                <a:gd name="connsiteX14" fmla="*/ 17924 w 35410"/>
                <a:gd name="connsiteY14" fmla="*/ 1679 h 28914"/>
                <a:gd name="connsiteX15" fmla="*/ 882 w 35410"/>
                <a:gd name="connsiteY15" fmla="*/ 19061 h 28914"/>
                <a:gd name="connsiteX16" fmla="*/ 9 w 35410"/>
                <a:gd name="connsiteY16" fmla="*/ 20402 h 28914"/>
                <a:gd name="connsiteX17" fmla="*/ 155 w 35410"/>
                <a:gd name="connsiteY17" fmla="*/ 20741 h 28914"/>
                <a:gd name="connsiteX18" fmla="*/ 4484 w 35410"/>
                <a:gd name="connsiteY18" fmla="*/ 21645 h 28914"/>
                <a:gd name="connsiteX19" fmla="*/ 4500 w 35410"/>
                <a:gd name="connsiteY19" fmla="*/ 21662 h 2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410" h="28914">
                  <a:moveTo>
                    <a:pt x="4500" y="21662"/>
                  </a:moveTo>
                  <a:cubicBezTo>
                    <a:pt x="5211" y="21500"/>
                    <a:pt x="5922" y="21306"/>
                    <a:pt x="6649" y="21112"/>
                  </a:cubicBezTo>
                  <a:cubicBezTo>
                    <a:pt x="8442" y="20612"/>
                    <a:pt x="10493" y="20046"/>
                    <a:pt x="12561" y="20046"/>
                  </a:cubicBezTo>
                  <a:cubicBezTo>
                    <a:pt x="14160" y="20046"/>
                    <a:pt x="15776" y="20385"/>
                    <a:pt x="17311" y="21322"/>
                  </a:cubicBezTo>
                  <a:cubicBezTo>
                    <a:pt x="19298" y="22550"/>
                    <a:pt x="20509" y="24456"/>
                    <a:pt x="21591" y="26136"/>
                  </a:cubicBezTo>
                  <a:cubicBezTo>
                    <a:pt x="22658" y="27800"/>
                    <a:pt x="23417" y="28899"/>
                    <a:pt x="24128" y="28915"/>
                  </a:cubicBezTo>
                  <a:cubicBezTo>
                    <a:pt x="24241" y="28915"/>
                    <a:pt x="24434" y="28915"/>
                    <a:pt x="24725" y="28608"/>
                  </a:cubicBezTo>
                  <a:cubicBezTo>
                    <a:pt x="25485" y="27817"/>
                    <a:pt x="25937" y="26023"/>
                    <a:pt x="25808" y="24472"/>
                  </a:cubicBezTo>
                  <a:cubicBezTo>
                    <a:pt x="25743" y="23826"/>
                    <a:pt x="25662" y="23148"/>
                    <a:pt x="25565" y="22486"/>
                  </a:cubicBezTo>
                  <a:cubicBezTo>
                    <a:pt x="25178" y="19562"/>
                    <a:pt x="24693" y="15911"/>
                    <a:pt x="26745" y="12777"/>
                  </a:cubicBezTo>
                  <a:cubicBezTo>
                    <a:pt x="28118" y="10677"/>
                    <a:pt x="30202" y="9498"/>
                    <a:pt x="32027" y="8464"/>
                  </a:cubicBezTo>
                  <a:cubicBezTo>
                    <a:pt x="33610" y="7575"/>
                    <a:pt x="34967" y="6800"/>
                    <a:pt x="35322" y="5798"/>
                  </a:cubicBezTo>
                  <a:cubicBezTo>
                    <a:pt x="35419" y="5507"/>
                    <a:pt x="35516" y="5039"/>
                    <a:pt x="35145" y="4296"/>
                  </a:cubicBezTo>
                  <a:cubicBezTo>
                    <a:pt x="34483" y="3036"/>
                    <a:pt x="32835" y="1808"/>
                    <a:pt x="31139" y="1340"/>
                  </a:cubicBezTo>
                  <a:cubicBezTo>
                    <a:pt x="23627" y="-760"/>
                    <a:pt x="20751" y="-195"/>
                    <a:pt x="17924" y="1679"/>
                  </a:cubicBezTo>
                  <a:cubicBezTo>
                    <a:pt x="11673" y="6881"/>
                    <a:pt x="5938" y="12728"/>
                    <a:pt x="882" y="19061"/>
                  </a:cubicBezTo>
                  <a:cubicBezTo>
                    <a:pt x="575" y="19432"/>
                    <a:pt x="74" y="20062"/>
                    <a:pt x="9" y="20402"/>
                  </a:cubicBezTo>
                  <a:cubicBezTo>
                    <a:pt x="-7" y="20515"/>
                    <a:pt x="-23" y="20563"/>
                    <a:pt x="155" y="20741"/>
                  </a:cubicBezTo>
                  <a:cubicBezTo>
                    <a:pt x="882" y="21452"/>
                    <a:pt x="2885" y="22001"/>
                    <a:pt x="4484" y="21645"/>
                  </a:cubicBezTo>
                  <a:lnTo>
                    <a:pt x="4500" y="2166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9" name="Free-form: Shape 368">
              <a:extLst>
                <a:ext uri="{FF2B5EF4-FFF2-40B4-BE49-F238E27FC236}">
                  <a16:creationId xmlns:a16="http://schemas.microsoft.com/office/drawing/2014/main" id="{8B1883F2-D7CC-EB2F-C643-E0CEE7D52F25}"/>
                </a:ext>
              </a:extLst>
            </p:cNvPr>
            <p:cNvSpPr/>
            <p:nvPr/>
          </p:nvSpPr>
          <p:spPr>
            <a:xfrm>
              <a:off x="5138855" y="2779236"/>
              <a:ext cx="45294" cy="30388"/>
            </a:xfrm>
            <a:custGeom>
              <a:avLst/>
              <a:gdLst>
                <a:gd name="connsiteX0" fmla="*/ 15352 w 45294"/>
                <a:gd name="connsiteY0" fmla="*/ 30085 h 30388"/>
                <a:gd name="connsiteX1" fmla="*/ 24528 w 45294"/>
                <a:gd name="connsiteY1" fmla="*/ 28809 h 30388"/>
                <a:gd name="connsiteX2" fmla="*/ 44044 w 45294"/>
                <a:gd name="connsiteY2" fmla="*/ 9843 h 30388"/>
                <a:gd name="connsiteX3" fmla="*/ 44607 w 45294"/>
                <a:gd name="connsiteY3" fmla="*/ 2493 h 30388"/>
                <a:gd name="connsiteX4" fmla="*/ 39729 w 45294"/>
                <a:gd name="connsiteY4" fmla="*/ 167 h 30388"/>
                <a:gd name="connsiteX5" fmla="*/ 20620 w 45294"/>
                <a:gd name="connsiteY5" fmla="*/ 4383 h 30388"/>
                <a:gd name="connsiteX6" fmla="*/ 13754 w 45294"/>
                <a:gd name="connsiteY6" fmla="*/ 4900 h 30388"/>
                <a:gd name="connsiteX7" fmla="*/ 11491 w 45294"/>
                <a:gd name="connsiteY7" fmla="*/ 3204 h 30388"/>
                <a:gd name="connsiteX8" fmla="*/ 8083 w 45294"/>
                <a:gd name="connsiteY8" fmla="*/ 1007 h 30388"/>
                <a:gd name="connsiteX9" fmla="*/ 6758 w 45294"/>
                <a:gd name="connsiteY9" fmla="*/ 781 h 30388"/>
                <a:gd name="connsiteX10" fmla="*/ 3755 w 45294"/>
                <a:gd name="connsiteY10" fmla="*/ 1815 h 30388"/>
                <a:gd name="connsiteX11" fmla="*/ 5 w 45294"/>
                <a:gd name="connsiteY11" fmla="*/ 8535 h 30388"/>
                <a:gd name="connsiteX12" fmla="*/ 6630 w 45294"/>
                <a:gd name="connsiteY12" fmla="*/ 22945 h 30388"/>
                <a:gd name="connsiteX13" fmla="*/ 15352 w 45294"/>
                <a:gd name="connsiteY13" fmla="*/ 30085 h 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294" h="30388">
                  <a:moveTo>
                    <a:pt x="15352" y="30085"/>
                  </a:moveTo>
                  <a:cubicBezTo>
                    <a:pt x="17840" y="30747"/>
                    <a:pt x="20844" y="30327"/>
                    <a:pt x="24528" y="28809"/>
                  </a:cubicBezTo>
                  <a:cubicBezTo>
                    <a:pt x="33154" y="25271"/>
                    <a:pt x="40263" y="18357"/>
                    <a:pt x="44044" y="9843"/>
                  </a:cubicBezTo>
                  <a:cubicBezTo>
                    <a:pt x="44884" y="7953"/>
                    <a:pt x="46061" y="4496"/>
                    <a:pt x="44607" y="2493"/>
                  </a:cubicBezTo>
                  <a:cubicBezTo>
                    <a:pt x="43606" y="1120"/>
                    <a:pt x="41344" y="506"/>
                    <a:pt x="39729" y="167"/>
                  </a:cubicBezTo>
                  <a:cubicBezTo>
                    <a:pt x="35109" y="-802"/>
                    <a:pt x="25321" y="2687"/>
                    <a:pt x="20620" y="4383"/>
                  </a:cubicBezTo>
                  <a:cubicBezTo>
                    <a:pt x="16484" y="5870"/>
                    <a:pt x="15176" y="6338"/>
                    <a:pt x="13754" y="4900"/>
                  </a:cubicBezTo>
                  <a:cubicBezTo>
                    <a:pt x="12930" y="4351"/>
                    <a:pt x="12202" y="3769"/>
                    <a:pt x="11491" y="3204"/>
                  </a:cubicBezTo>
                  <a:cubicBezTo>
                    <a:pt x="10328" y="2267"/>
                    <a:pt x="9213" y="1395"/>
                    <a:pt x="8083" y="1007"/>
                  </a:cubicBezTo>
                  <a:cubicBezTo>
                    <a:pt x="7630" y="846"/>
                    <a:pt x="7194" y="781"/>
                    <a:pt x="6758" y="781"/>
                  </a:cubicBezTo>
                  <a:cubicBezTo>
                    <a:pt x="5563" y="781"/>
                    <a:pt x="4514" y="1298"/>
                    <a:pt x="3755" y="1815"/>
                  </a:cubicBezTo>
                  <a:cubicBezTo>
                    <a:pt x="1590" y="3317"/>
                    <a:pt x="86" y="6015"/>
                    <a:pt x="5" y="8535"/>
                  </a:cubicBezTo>
                  <a:cubicBezTo>
                    <a:pt x="-156" y="13704"/>
                    <a:pt x="3270" y="18712"/>
                    <a:pt x="6630" y="22945"/>
                  </a:cubicBezTo>
                  <a:cubicBezTo>
                    <a:pt x="8989" y="25901"/>
                    <a:pt x="11798" y="29132"/>
                    <a:pt x="15352" y="3008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0" name="Free-form: Shape 369">
              <a:extLst>
                <a:ext uri="{FF2B5EF4-FFF2-40B4-BE49-F238E27FC236}">
                  <a16:creationId xmlns:a16="http://schemas.microsoft.com/office/drawing/2014/main" id="{4B5AA81F-40D5-E89E-2F4D-00CB50BFD149}"/>
                </a:ext>
              </a:extLst>
            </p:cNvPr>
            <p:cNvSpPr/>
            <p:nvPr/>
          </p:nvSpPr>
          <p:spPr>
            <a:xfrm>
              <a:off x="6597064" y="4936006"/>
              <a:ext cx="40838" cy="33929"/>
            </a:xfrm>
            <a:custGeom>
              <a:avLst/>
              <a:gdLst>
                <a:gd name="connsiteX0" fmla="*/ 35546 w 40838"/>
                <a:gd name="connsiteY0" fmla="*/ 8594 h 33929"/>
                <a:gd name="connsiteX1" fmla="*/ 28600 w 40838"/>
                <a:gd name="connsiteY1" fmla="*/ 9030 h 33929"/>
                <a:gd name="connsiteX2" fmla="*/ 26047 w 40838"/>
                <a:gd name="connsiteY2" fmla="*/ 9289 h 33929"/>
                <a:gd name="connsiteX3" fmla="*/ 20603 w 40838"/>
                <a:gd name="connsiteY3" fmla="*/ 2762 h 33929"/>
                <a:gd name="connsiteX4" fmla="*/ 20135 w 40838"/>
                <a:gd name="connsiteY4" fmla="*/ 1858 h 33929"/>
                <a:gd name="connsiteX5" fmla="*/ 17179 w 40838"/>
                <a:gd name="connsiteY5" fmla="*/ 146 h 33929"/>
                <a:gd name="connsiteX6" fmla="*/ 15579 w 40838"/>
                <a:gd name="connsiteY6" fmla="*/ 0 h 33929"/>
                <a:gd name="connsiteX7" fmla="*/ 4077 w 40838"/>
                <a:gd name="connsiteY7" fmla="*/ 8416 h 33929"/>
                <a:gd name="connsiteX8" fmla="*/ 507 w 40838"/>
                <a:gd name="connsiteY8" fmla="*/ 24635 h 33929"/>
                <a:gd name="connsiteX9" fmla="*/ 217 w 40838"/>
                <a:gd name="connsiteY9" fmla="*/ 27333 h 33929"/>
                <a:gd name="connsiteX10" fmla="*/ 524 w 40838"/>
                <a:gd name="connsiteY10" fmla="*/ 32631 h 33929"/>
                <a:gd name="connsiteX11" fmla="*/ 2430 w 40838"/>
                <a:gd name="connsiteY11" fmla="*/ 33843 h 33929"/>
                <a:gd name="connsiteX12" fmla="*/ 9392 w 40838"/>
                <a:gd name="connsiteY12" fmla="*/ 31759 h 33929"/>
                <a:gd name="connsiteX13" fmla="*/ 12284 w 40838"/>
                <a:gd name="connsiteY13" fmla="*/ 29336 h 33929"/>
                <a:gd name="connsiteX14" fmla="*/ 22962 w 40838"/>
                <a:gd name="connsiteY14" fmla="*/ 23213 h 33929"/>
                <a:gd name="connsiteX15" fmla="*/ 29278 w 40838"/>
                <a:gd name="connsiteY15" fmla="*/ 23537 h 33929"/>
                <a:gd name="connsiteX16" fmla="*/ 33317 w 40838"/>
                <a:gd name="connsiteY16" fmla="*/ 23908 h 33929"/>
                <a:gd name="connsiteX17" fmla="*/ 39245 w 40838"/>
                <a:gd name="connsiteY17" fmla="*/ 20274 h 33929"/>
                <a:gd name="connsiteX18" fmla="*/ 40538 w 40838"/>
                <a:gd name="connsiteY18" fmla="*/ 13440 h 33929"/>
                <a:gd name="connsiteX19" fmla="*/ 35546 w 40838"/>
                <a:gd name="connsiteY19" fmla="*/ 8594 h 33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838" h="33929">
                  <a:moveTo>
                    <a:pt x="35546" y="8594"/>
                  </a:moveTo>
                  <a:cubicBezTo>
                    <a:pt x="33090" y="7689"/>
                    <a:pt x="30490" y="7851"/>
                    <a:pt x="28600" y="9030"/>
                  </a:cubicBezTo>
                  <a:cubicBezTo>
                    <a:pt x="27840" y="9498"/>
                    <a:pt x="26887" y="9596"/>
                    <a:pt x="26047" y="9289"/>
                  </a:cubicBezTo>
                  <a:cubicBezTo>
                    <a:pt x="23656" y="8384"/>
                    <a:pt x="22154" y="5800"/>
                    <a:pt x="20603" y="2762"/>
                  </a:cubicBezTo>
                  <a:cubicBezTo>
                    <a:pt x="20425" y="2423"/>
                    <a:pt x="20280" y="2116"/>
                    <a:pt x="20135" y="1858"/>
                  </a:cubicBezTo>
                  <a:cubicBezTo>
                    <a:pt x="19699" y="1050"/>
                    <a:pt x="18584" y="404"/>
                    <a:pt x="17179" y="146"/>
                  </a:cubicBezTo>
                  <a:cubicBezTo>
                    <a:pt x="16645" y="49"/>
                    <a:pt x="16112" y="0"/>
                    <a:pt x="15579" y="0"/>
                  </a:cubicBezTo>
                  <a:cubicBezTo>
                    <a:pt x="10749" y="0"/>
                    <a:pt x="6242" y="4022"/>
                    <a:pt x="4077" y="8416"/>
                  </a:cubicBezTo>
                  <a:cubicBezTo>
                    <a:pt x="1687" y="13246"/>
                    <a:pt x="1121" y="18787"/>
                    <a:pt x="507" y="24635"/>
                  </a:cubicBezTo>
                  <a:lnTo>
                    <a:pt x="217" y="27333"/>
                  </a:lnTo>
                  <a:cubicBezTo>
                    <a:pt x="-9" y="29336"/>
                    <a:pt x="-236" y="31388"/>
                    <a:pt x="524" y="32631"/>
                  </a:cubicBezTo>
                  <a:cubicBezTo>
                    <a:pt x="782" y="33051"/>
                    <a:pt x="1250" y="33633"/>
                    <a:pt x="2430" y="33843"/>
                  </a:cubicBezTo>
                  <a:cubicBezTo>
                    <a:pt x="4417" y="34215"/>
                    <a:pt x="7292" y="33358"/>
                    <a:pt x="9392" y="31759"/>
                  </a:cubicBezTo>
                  <a:cubicBezTo>
                    <a:pt x="10378" y="31016"/>
                    <a:pt x="11331" y="30160"/>
                    <a:pt x="12284" y="29336"/>
                  </a:cubicBezTo>
                  <a:cubicBezTo>
                    <a:pt x="15208" y="26768"/>
                    <a:pt x="18519" y="23844"/>
                    <a:pt x="22962" y="23213"/>
                  </a:cubicBezTo>
                  <a:cubicBezTo>
                    <a:pt x="25207" y="22890"/>
                    <a:pt x="27372" y="23230"/>
                    <a:pt x="29278" y="23537"/>
                  </a:cubicBezTo>
                  <a:cubicBezTo>
                    <a:pt x="30716" y="23763"/>
                    <a:pt x="32057" y="23973"/>
                    <a:pt x="33317" y="23908"/>
                  </a:cubicBezTo>
                  <a:cubicBezTo>
                    <a:pt x="35546" y="23779"/>
                    <a:pt x="37759" y="22422"/>
                    <a:pt x="39245" y="20274"/>
                  </a:cubicBezTo>
                  <a:cubicBezTo>
                    <a:pt x="40731" y="18125"/>
                    <a:pt x="41216" y="15572"/>
                    <a:pt x="40538" y="13440"/>
                  </a:cubicBezTo>
                  <a:cubicBezTo>
                    <a:pt x="39859" y="11308"/>
                    <a:pt x="38001" y="9498"/>
                    <a:pt x="35546" y="859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1" name="Free-form: Shape 370">
              <a:extLst>
                <a:ext uri="{FF2B5EF4-FFF2-40B4-BE49-F238E27FC236}">
                  <a16:creationId xmlns:a16="http://schemas.microsoft.com/office/drawing/2014/main" id="{5C1A5E25-1122-8777-198B-99E201CFA014}"/>
                </a:ext>
              </a:extLst>
            </p:cNvPr>
            <p:cNvSpPr/>
            <p:nvPr/>
          </p:nvSpPr>
          <p:spPr>
            <a:xfrm>
              <a:off x="5558400" y="1791137"/>
              <a:ext cx="906099" cy="1186382"/>
            </a:xfrm>
            <a:custGeom>
              <a:avLst/>
              <a:gdLst>
                <a:gd name="connsiteX0" fmla="*/ 348368 w 906099"/>
                <a:gd name="connsiteY0" fmla="*/ 1148984 h 1186382"/>
                <a:gd name="connsiteX1" fmla="*/ 355686 w 906099"/>
                <a:gd name="connsiteY1" fmla="*/ 1147870 h 1186382"/>
                <a:gd name="connsiteX2" fmla="*/ 359337 w 906099"/>
                <a:gd name="connsiteY2" fmla="*/ 1144786 h 1186382"/>
                <a:gd name="connsiteX3" fmla="*/ 361712 w 906099"/>
                <a:gd name="connsiteY3" fmla="*/ 1142506 h 1186382"/>
                <a:gd name="connsiteX4" fmla="*/ 394004 w 906099"/>
                <a:gd name="connsiteY4" fmla="*/ 1138403 h 1186382"/>
                <a:gd name="connsiteX5" fmla="*/ 402081 w 906099"/>
                <a:gd name="connsiteY5" fmla="*/ 1139518 h 1186382"/>
                <a:gd name="connsiteX6" fmla="*/ 419108 w 906099"/>
                <a:gd name="connsiteY6" fmla="*/ 1139746 h 1186382"/>
                <a:gd name="connsiteX7" fmla="*/ 450770 w 906099"/>
                <a:gd name="connsiteY7" fmla="*/ 1143540 h 1186382"/>
                <a:gd name="connsiteX8" fmla="*/ 478797 w 906099"/>
                <a:gd name="connsiteY8" fmla="*/ 1169484 h 1186382"/>
                <a:gd name="connsiteX9" fmla="*/ 493207 w 906099"/>
                <a:gd name="connsiteY9" fmla="*/ 1186383 h 1186382"/>
                <a:gd name="connsiteX10" fmla="*/ 523965 w 906099"/>
                <a:gd name="connsiteY10" fmla="*/ 1153427 h 1186382"/>
                <a:gd name="connsiteX11" fmla="*/ 529635 w 906099"/>
                <a:gd name="connsiteY11" fmla="*/ 1150844 h 1186382"/>
                <a:gd name="connsiteX12" fmla="*/ 547146 w 906099"/>
                <a:gd name="connsiteY12" fmla="*/ 1137789 h 1186382"/>
                <a:gd name="connsiteX13" fmla="*/ 548260 w 906099"/>
                <a:gd name="connsiteY13" fmla="*/ 1134268 h 1186382"/>
                <a:gd name="connsiteX14" fmla="*/ 550183 w 906099"/>
                <a:gd name="connsiteY14" fmla="*/ 1128841 h 1186382"/>
                <a:gd name="connsiteX15" fmla="*/ 566806 w 906099"/>
                <a:gd name="connsiteY15" fmla="*/ 1117209 h 1186382"/>
                <a:gd name="connsiteX16" fmla="*/ 569746 w 906099"/>
                <a:gd name="connsiteY16" fmla="*/ 1116062 h 1186382"/>
                <a:gd name="connsiteX17" fmla="*/ 609711 w 906099"/>
                <a:gd name="connsiteY17" fmla="*/ 1084821 h 1186382"/>
                <a:gd name="connsiteX18" fmla="*/ 636543 w 906099"/>
                <a:gd name="connsiteY18" fmla="*/ 1060493 h 1186382"/>
                <a:gd name="connsiteX19" fmla="*/ 652035 w 906099"/>
                <a:gd name="connsiteY19" fmla="*/ 1053674 h 1186382"/>
                <a:gd name="connsiteX20" fmla="*/ 669191 w 906099"/>
                <a:gd name="connsiteY20" fmla="*/ 1056728 h 1186382"/>
                <a:gd name="connsiteX21" fmla="*/ 682340 w 906099"/>
                <a:gd name="connsiteY21" fmla="*/ 1059651 h 1186382"/>
                <a:gd name="connsiteX22" fmla="*/ 713082 w 906099"/>
                <a:gd name="connsiteY22" fmla="*/ 1032900 h 1186382"/>
                <a:gd name="connsiteX23" fmla="*/ 771528 w 906099"/>
                <a:gd name="connsiteY23" fmla="*/ 982870 h 1186382"/>
                <a:gd name="connsiteX24" fmla="*/ 781673 w 906099"/>
                <a:gd name="connsiteY24" fmla="*/ 980577 h 1186382"/>
                <a:gd name="connsiteX25" fmla="*/ 816259 w 906099"/>
                <a:gd name="connsiteY25" fmla="*/ 962857 h 1186382"/>
                <a:gd name="connsiteX26" fmla="*/ 839521 w 906099"/>
                <a:gd name="connsiteY26" fmla="*/ 907689 h 1186382"/>
                <a:gd name="connsiteX27" fmla="*/ 841427 w 906099"/>
                <a:gd name="connsiteY27" fmla="*/ 901421 h 1186382"/>
                <a:gd name="connsiteX28" fmla="*/ 842509 w 906099"/>
                <a:gd name="connsiteY28" fmla="*/ 822412 h 1186382"/>
                <a:gd name="connsiteX29" fmla="*/ 841734 w 906099"/>
                <a:gd name="connsiteY29" fmla="*/ 820910 h 1186382"/>
                <a:gd name="connsiteX30" fmla="*/ 838083 w 906099"/>
                <a:gd name="connsiteY30" fmla="*/ 808954 h 1186382"/>
                <a:gd name="connsiteX31" fmla="*/ 845611 w 906099"/>
                <a:gd name="connsiteY31" fmla="*/ 794771 h 1186382"/>
                <a:gd name="connsiteX32" fmla="*/ 850393 w 906099"/>
                <a:gd name="connsiteY32" fmla="*/ 788616 h 1186382"/>
                <a:gd name="connsiteX33" fmla="*/ 853898 w 906099"/>
                <a:gd name="connsiteY33" fmla="*/ 773302 h 1186382"/>
                <a:gd name="connsiteX34" fmla="*/ 859261 w 906099"/>
                <a:gd name="connsiteY34" fmla="*/ 754064 h 1186382"/>
                <a:gd name="connsiteX35" fmla="*/ 871393 w 906099"/>
                <a:gd name="connsiteY35" fmla="*/ 744388 h 1186382"/>
                <a:gd name="connsiteX36" fmla="*/ 873913 w 906099"/>
                <a:gd name="connsiteY36" fmla="*/ 742884 h 1186382"/>
                <a:gd name="connsiteX37" fmla="*/ 892814 w 906099"/>
                <a:gd name="connsiteY37" fmla="*/ 720801 h 1186382"/>
                <a:gd name="connsiteX38" fmla="*/ 882588 w 906099"/>
                <a:gd name="connsiteY38" fmla="*/ 697894 h 1186382"/>
                <a:gd name="connsiteX39" fmla="*/ 872815 w 906099"/>
                <a:gd name="connsiteY39" fmla="*/ 696426 h 1186382"/>
                <a:gd name="connsiteX40" fmla="*/ 854302 w 906099"/>
                <a:gd name="connsiteY40" fmla="*/ 687782 h 1186382"/>
                <a:gd name="connsiteX41" fmla="*/ 855756 w 906099"/>
                <a:gd name="connsiteY41" fmla="*/ 684003 h 1186382"/>
                <a:gd name="connsiteX42" fmla="*/ 899421 w 906099"/>
                <a:gd name="connsiteY42" fmla="*/ 663857 h 1186382"/>
                <a:gd name="connsiteX43" fmla="*/ 905737 w 906099"/>
                <a:gd name="connsiteY43" fmla="*/ 659140 h 1186382"/>
                <a:gd name="connsiteX44" fmla="*/ 901892 w 906099"/>
                <a:gd name="connsiteY44" fmla="*/ 649399 h 1186382"/>
                <a:gd name="connsiteX45" fmla="*/ 841863 w 906099"/>
                <a:gd name="connsiteY45" fmla="*/ 626363 h 1186382"/>
                <a:gd name="connsiteX46" fmla="*/ 779605 w 906099"/>
                <a:gd name="connsiteY46" fmla="*/ 602940 h 1186382"/>
                <a:gd name="connsiteX47" fmla="*/ 762126 w 906099"/>
                <a:gd name="connsiteY47" fmla="*/ 580098 h 1186382"/>
                <a:gd name="connsiteX48" fmla="*/ 733371 w 906099"/>
                <a:gd name="connsiteY48" fmla="*/ 550778 h 1186382"/>
                <a:gd name="connsiteX49" fmla="*/ 710594 w 906099"/>
                <a:gd name="connsiteY49" fmla="*/ 556949 h 1186382"/>
                <a:gd name="connsiteX50" fmla="*/ 688576 w 906099"/>
                <a:gd name="connsiteY50" fmla="*/ 565446 h 1186382"/>
                <a:gd name="connsiteX51" fmla="*/ 670968 w 906099"/>
                <a:gd name="connsiteY51" fmla="*/ 558322 h 1186382"/>
                <a:gd name="connsiteX52" fmla="*/ 658335 w 906099"/>
                <a:gd name="connsiteY52" fmla="*/ 526789 h 1186382"/>
                <a:gd name="connsiteX53" fmla="*/ 659741 w 906099"/>
                <a:gd name="connsiteY53" fmla="*/ 507226 h 1186382"/>
                <a:gd name="connsiteX54" fmla="*/ 659821 w 906099"/>
                <a:gd name="connsiteY54" fmla="*/ 477454 h 1186382"/>
                <a:gd name="connsiteX55" fmla="*/ 657705 w 906099"/>
                <a:gd name="connsiteY55" fmla="*/ 470007 h 1186382"/>
                <a:gd name="connsiteX56" fmla="*/ 657350 w 906099"/>
                <a:gd name="connsiteY56" fmla="*/ 443061 h 1186382"/>
                <a:gd name="connsiteX57" fmla="*/ 661502 w 906099"/>
                <a:gd name="connsiteY57" fmla="*/ 438215 h 1186382"/>
                <a:gd name="connsiteX58" fmla="*/ 664361 w 906099"/>
                <a:gd name="connsiteY58" fmla="*/ 435081 h 1186382"/>
                <a:gd name="connsiteX59" fmla="*/ 669272 w 906099"/>
                <a:gd name="connsiteY59" fmla="*/ 421399 h 1186382"/>
                <a:gd name="connsiteX60" fmla="*/ 671162 w 906099"/>
                <a:gd name="connsiteY60" fmla="*/ 413612 h 1186382"/>
                <a:gd name="connsiteX61" fmla="*/ 698091 w 906099"/>
                <a:gd name="connsiteY61" fmla="*/ 379802 h 1186382"/>
                <a:gd name="connsiteX62" fmla="*/ 703922 w 906099"/>
                <a:gd name="connsiteY62" fmla="*/ 374665 h 1186382"/>
                <a:gd name="connsiteX63" fmla="*/ 740657 w 906099"/>
                <a:gd name="connsiteY63" fmla="*/ 280599 h 1186382"/>
                <a:gd name="connsiteX64" fmla="*/ 722144 w 906099"/>
                <a:gd name="connsiteY64" fmla="*/ 276237 h 1186382"/>
                <a:gd name="connsiteX65" fmla="*/ 699674 w 906099"/>
                <a:gd name="connsiteY65" fmla="*/ 270874 h 1186382"/>
                <a:gd name="connsiteX66" fmla="*/ 692324 w 906099"/>
                <a:gd name="connsiteY66" fmla="*/ 259259 h 1186382"/>
                <a:gd name="connsiteX67" fmla="*/ 686702 w 906099"/>
                <a:gd name="connsiteY67" fmla="*/ 249873 h 1186382"/>
                <a:gd name="connsiteX68" fmla="*/ 678480 w 906099"/>
                <a:gd name="connsiteY68" fmla="*/ 245334 h 1186382"/>
                <a:gd name="connsiteX69" fmla="*/ 675766 w 906099"/>
                <a:gd name="connsiteY69" fmla="*/ 244171 h 1186382"/>
                <a:gd name="connsiteX70" fmla="*/ 642730 w 906099"/>
                <a:gd name="connsiteY70" fmla="*/ 187389 h 1186382"/>
                <a:gd name="connsiteX71" fmla="*/ 643780 w 906099"/>
                <a:gd name="connsiteY71" fmla="*/ 179990 h 1186382"/>
                <a:gd name="connsiteX72" fmla="*/ 644523 w 906099"/>
                <a:gd name="connsiteY72" fmla="*/ 164450 h 1186382"/>
                <a:gd name="connsiteX73" fmla="*/ 637545 w 906099"/>
                <a:gd name="connsiteY73" fmla="*/ 155000 h 1186382"/>
                <a:gd name="connsiteX74" fmla="*/ 631422 w 906099"/>
                <a:gd name="connsiteY74" fmla="*/ 154580 h 1186382"/>
                <a:gd name="connsiteX75" fmla="*/ 628353 w 906099"/>
                <a:gd name="connsiteY75" fmla="*/ 156550 h 1186382"/>
                <a:gd name="connsiteX76" fmla="*/ 622037 w 906099"/>
                <a:gd name="connsiteY76" fmla="*/ 159830 h 1186382"/>
                <a:gd name="connsiteX77" fmla="*/ 607320 w 906099"/>
                <a:gd name="connsiteY77" fmla="*/ 151526 h 1186382"/>
                <a:gd name="connsiteX78" fmla="*/ 604138 w 906099"/>
                <a:gd name="connsiteY78" fmla="*/ 147956 h 1186382"/>
                <a:gd name="connsiteX79" fmla="*/ 583654 w 906099"/>
                <a:gd name="connsiteY79" fmla="*/ 145404 h 1186382"/>
                <a:gd name="connsiteX80" fmla="*/ 580747 w 906099"/>
                <a:gd name="connsiteY80" fmla="*/ 147359 h 1186382"/>
                <a:gd name="connsiteX81" fmla="*/ 572282 w 906099"/>
                <a:gd name="connsiteY81" fmla="*/ 151559 h 1186382"/>
                <a:gd name="connsiteX82" fmla="*/ 561297 w 906099"/>
                <a:gd name="connsiteY82" fmla="*/ 149443 h 1186382"/>
                <a:gd name="connsiteX83" fmla="*/ 528633 w 906099"/>
                <a:gd name="connsiteY83" fmla="*/ 135356 h 1186382"/>
                <a:gd name="connsiteX84" fmla="*/ 519102 w 906099"/>
                <a:gd name="connsiteY84" fmla="*/ 124517 h 1186382"/>
                <a:gd name="connsiteX85" fmla="*/ 524401 w 906099"/>
                <a:gd name="connsiteY85" fmla="*/ 115470 h 1186382"/>
                <a:gd name="connsiteX86" fmla="*/ 530636 w 906099"/>
                <a:gd name="connsiteY86" fmla="*/ 110576 h 1186382"/>
                <a:gd name="connsiteX87" fmla="*/ 541233 w 906099"/>
                <a:gd name="connsiteY87" fmla="*/ 101352 h 1186382"/>
                <a:gd name="connsiteX88" fmla="*/ 545207 w 906099"/>
                <a:gd name="connsiteY88" fmla="*/ 83808 h 1186382"/>
                <a:gd name="connsiteX89" fmla="*/ 537502 w 906099"/>
                <a:gd name="connsiteY89" fmla="*/ 78122 h 1186382"/>
                <a:gd name="connsiteX90" fmla="*/ 513594 w 906099"/>
                <a:gd name="connsiteY90" fmla="*/ 85860 h 1186382"/>
                <a:gd name="connsiteX91" fmla="*/ 508214 w 906099"/>
                <a:gd name="connsiteY91" fmla="*/ 90641 h 1186382"/>
                <a:gd name="connsiteX92" fmla="*/ 476342 w 906099"/>
                <a:gd name="connsiteY92" fmla="*/ 106602 h 1186382"/>
                <a:gd name="connsiteX93" fmla="*/ 466730 w 906099"/>
                <a:gd name="connsiteY93" fmla="*/ 101691 h 1186382"/>
                <a:gd name="connsiteX94" fmla="*/ 464452 w 906099"/>
                <a:gd name="connsiteY94" fmla="*/ 90706 h 1186382"/>
                <a:gd name="connsiteX95" fmla="*/ 466569 w 906099"/>
                <a:gd name="connsiteY95" fmla="*/ 32179 h 1186382"/>
                <a:gd name="connsiteX96" fmla="*/ 464049 w 906099"/>
                <a:gd name="connsiteY96" fmla="*/ 15767 h 1186382"/>
                <a:gd name="connsiteX97" fmla="*/ 457668 w 906099"/>
                <a:gd name="connsiteY97" fmla="*/ 7059 h 1186382"/>
                <a:gd name="connsiteX98" fmla="*/ 452498 w 906099"/>
                <a:gd name="connsiteY98" fmla="*/ 0 h 1186382"/>
                <a:gd name="connsiteX99" fmla="*/ 401241 w 906099"/>
                <a:gd name="connsiteY99" fmla="*/ 30887 h 1186382"/>
                <a:gd name="connsiteX100" fmla="*/ 358222 w 906099"/>
                <a:gd name="connsiteY100" fmla="*/ 68542 h 1186382"/>
                <a:gd name="connsiteX101" fmla="*/ 352213 w 906099"/>
                <a:gd name="connsiteY101" fmla="*/ 79430 h 1186382"/>
                <a:gd name="connsiteX102" fmla="*/ 344088 w 906099"/>
                <a:gd name="connsiteY102" fmla="*/ 93533 h 1186382"/>
                <a:gd name="connsiteX103" fmla="*/ 327820 w 906099"/>
                <a:gd name="connsiteY103" fmla="*/ 110769 h 1186382"/>
                <a:gd name="connsiteX104" fmla="*/ 212948 w 906099"/>
                <a:gd name="connsiteY104" fmla="*/ 206693 h 1186382"/>
                <a:gd name="connsiteX105" fmla="*/ 173984 w 906099"/>
                <a:gd name="connsiteY105" fmla="*/ 233444 h 1186382"/>
                <a:gd name="connsiteX106" fmla="*/ 149752 w 906099"/>
                <a:gd name="connsiteY106" fmla="*/ 245705 h 1186382"/>
                <a:gd name="connsiteX107" fmla="*/ 116006 w 906099"/>
                <a:gd name="connsiteY107" fmla="*/ 263863 h 1186382"/>
                <a:gd name="connsiteX108" fmla="*/ 81921 w 906099"/>
                <a:gd name="connsiteY108" fmla="*/ 314280 h 1186382"/>
                <a:gd name="connsiteX109" fmla="*/ 84279 w 906099"/>
                <a:gd name="connsiteY109" fmla="*/ 325782 h 1186382"/>
                <a:gd name="connsiteX110" fmla="*/ 86848 w 906099"/>
                <a:gd name="connsiteY110" fmla="*/ 340240 h 1186382"/>
                <a:gd name="connsiteX111" fmla="*/ 91452 w 906099"/>
                <a:gd name="connsiteY111" fmla="*/ 350320 h 1186382"/>
                <a:gd name="connsiteX112" fmla="*/ 97380 w 906099"/>
                <a:gd name="connsiteY112" fmla="*/ 362484 h 1186382"/>
                <a:gd name="connsiteX113" fmla="*/ 96540 w 906099"/>
                <a:gd name="connsiteY113" fmla="*/ 369980 h 1186382"/>
                <a:gd name="connsiteX114" fmla="*/ 95781 w 906099"/>
                <a:gd name="connsiteY114" fmla="*/ 375214 h 1186382"/>
                <a:gd name="connsiteX115" fmla="*/ 100466 w 906099"/>
                <a:gd name="connsiteY115" fmla="*/ 386279 h 1186382"/>
                <a:gd name="connsiteX116" fmla="*/ 104537 w 906099"/>
                <a:gd name="connsiteY116" fmla="*/ 404291 h 1186382"/>
                <a:gd name="connsiteX117" fmla="*/ 96605 w 906099"/>
                <a:gd name="connsiteY117" fmla="*/ 412239 h 1186382"/>
                <a:gd name="connsiteX118" fmla="*/ 91080 w 906099"/>
                <a:gd name="connsiteY118" fmla="*/ 416989 h 1186382"/>
                <a:gd name="connsiteX119" fmla="*/ 93035 w 906099"/>
                <a:gd name="connsiteY119" fmla="*/ 431754 h 1186382"/>
                <a:gd name="connsiteX120" fmla="*/ 95927 w 906099"/>
                <a:gd name="connsiteY120" fmla="*/ 436117 h 1186382"/>
                <a:gd name="connsiteX121" fmla="*/ 102614 w 906099"/>
                <a:gd name="connsiteY121" fmla="*/ 449040 h 1186382"/>
                <a:gd name="connsiteX122" fmla="*/ 103422 w 906099"/>
                <a:gd name="connsiteY122" fmla="*/ 457713 h 1186382"/>
                <a:gd name="connsiteX123" fmla="*/ 104553 w 906099"/>
                <a:gd name="connsiteY123" fmla="*/ 466679 h 1186382"/>
                <a:gd name="connsiteX124" fmla="*/ 115958 w 906099"/>
                <a:gd name="connsiteY124" fmla="*/ 478003 h 1186382"/>
                <a:gd name="connsiteX125" fmla="*/ 160560 w 906099"/>
                <a:gd name="connsiteY125" fmla="*/ 507646 h 1186382"/>
                <a:gd name="connsiteX126" fmla="*/ 172320 w 906099"/>
                <a:gd name="connsiteY126" fmla="*/ 524366 h 1186382"/>
                <a:gd name="connsiteX127" fmla="*/ 167894 w 906099"/>
                <a:gd name="connsiteY127" fmla="*/ 532911 h 1186382"/>
                <a:gd name="connsiteX128" fmla="*/ 151109 w 906099"/>
                <a:gd name="connsiteY128" fmla="*/ 537467 h 1186382"/>
                <a:gd name="connsiteX129" fmla="*/ 131369 w 906099"/>
                <a:gd name="connsiteY129" fmla="*/ 530488 h 1186382"/>
                <a:gd name="connsiteX130" fmla="*/ 122403 w 906099"/>
                <a:gd name="connsiteY130" fmla="*/ 523396 h 1186382"/>
                <a:gd name="connsiteX131" fmla="*/ 114908 w 906099"/>
                <a:gd name="connsiteY131" fmla="*/ 517355 h 1186382"/>
                <a:gd name="connsiteX132" fmla="*/ 98059 w 906099"/>
                <a:gd name="connsiteY132" fmla="*/ 508761 h 1186382"/>
                <a:gd name="connsiteX133" fmla="*/ 69951 w 906099"/>
                <a:gd name="connsiteY133" fmla="*/ 488196 h 1186382"/>
                <a:gd name="connsiteX134" fmla="*/ 65654 w 906099"/>
                <a:gd name="connsiteY134" fmla="*/ 462317 h 1186382"/>
                <a:gd name="connsiteX135" fmla="*/ 65654 w 906099"/>
                <a:gd name="connsiteY135" fmla="*/ 460282 h 1186382"/>
                <a:gd name="connsiteX136" fmla="*/ 63618 w 906099"/>
                <a:gd name="connsiteY136" fmla="*/ 429251 h 1186382"/>
                <a:gd name="connsiteX137" fmla="*/ 60533 w 906099"/>
                <a:gd name="connsiteY137" fmla="*/ 419186 h 1186382"/>
                <a:gd name="connsiteX138" fmla="*/ 53667 w 906099"/>
                <a:gd name="connsiteY138" fmla="*/ 417005 h 1186382"/>
                <a:gd name="connsiteX139" fmla="*/ 50727 w 906099"/>
                <a:gd name="connsiteY139" fmla="*/ 420930 h 1186382"/>
                <a:gd name="connsiteX140" fmla="*/ 45315 w 906099"/>
                <a:gd name="connsiteY140" fmla="*/ 427214 h 1186382"/>
                <a:gd name="connsiteX141" fmla="*/ 33507 w 906099"/>
                <a:gd name="connsiteY141" fmla="*/ 426520 h 1186382"/>
                <a:gd name="connsiteX142" fmla="*/ 27837 w 906099"/>
                <a:gd name="connsiteY142" fmla="*/ 423838 h 1186382"/>
                <a:gd name="connsiteX143" fmla="*/ 13379 w 906099"/>
                <a:gd name="connsiteY143" fmla="*/ 418654 h 1186382"/>
                <a:gd name="connsiteX144" fmla="*/ 2749 w 906099"/>
                <a:gd name="connsiteY144" fmla="*/ 421885 h 1186382"/>
                <a:gd name="connsiteX145" fmla="*/ 3 w 906099"/>
                <a:gd name="connsiteY145" fmla="*/ 427246 h 1186382"/>
                <a:gd name="connsiteX146" fmla="*/ 6707 w 906099"/>
                <a:gd name="connsiteY146" fmla="*/ 438264 h 1186382"/>
                <a:gd name="connsiteX147" fmla="*/ 13104 w 906099"/>
                <a:gd name="connsiteY147" fmla="*/ 445888 h 1186382"/>
                <a:gd name="connsiteX148" fmla="*/ 13572 w 906099"/>
                <a:gd name="connsiteY148" fmla="*/ 474966 h 1186382"/>
                <a:gd name="connsiteX149" fmla="*/ 11941 w 906099"/>
                <a:gd name="connsiteY149" fmla="*/ 497743 h 1186382"/>
                <a:gd name="connsiteX150" fmla="*/ 22102 w 906099"/>
                <a:gd name="connsiteY150" fmla="*/ 511087 h 1186382"/>
                <a:gd name="connsiteX151" fmla="*/ 35203 w 906099"/>
                <a:gd name="connsiteY151" fmla="*/ 521652 h 1186382"/>
                <a:gd name="connsiteX152" fmla="*/ 56155 w 906099"/>
                <a:gd name="connsiteY152" fmla="*/ 539908 h 1186382"/>
                <a:gd name="connsiteX153" fmla="*/ 72002 w 906099"/>
                <a:gd name="connsiteY153" fmla="*/ 573684 h 1186382"/>
                <a:gd name="connsiteX154" fmla="*/ 96944 w 906099"/>
                <a:gd name="connsiteY154" fmla="*/ 584912 h 1186382"/>
                <a:gd name="connsiteX155" fmla="*/ 115732 w 906099"/>
                <a:gd name="connsiteY155" fmla="*/ 594911 h 1186382"/>
                <a:gd name="connsiteX156" fmla="*/ 135989 w 906099"/>
                <a:gd name="connsiteY156" fmla="*/ 594832 h 1186382"/>
                <a:gd name="connsiteX157" fmla="*/ 138396 w 906099"/>
                <a:gd name="connsiteY157" fmla="*/ 594541 h 1186382"/>
                <a:gd name="connsiteX158" fmla="*/ 163403 w 906099"/>
                <a:gd name="connsiteY158" fmla="*/ 596785 h 1186382"/>
                <a:gd name="connsiteX159" fmla="*/ 168653 w 906099"/>
                <a:gd name="connsiteY159" fmla="*/ 600292 h 1186382"/>
                <a:gd name="connsiteX160" fmla="*/ 169364 w 906099"/>
                <a:gd name="connsiteY160" fmla="*/ 599160 h 1186382"/>
                <a:gd name="connsiteX161" fmla="*/ 192270 w 906099"/>
                <a:gd name="connsiteY161" fmla="*/ 590178 h 1186382"/>
                <a:gd name="connsiteX162" fmla="*/ 199830 w 906099"/>
                <a:gd name="connsiteY162" fmla="*/ 590808 h 1186382"/>
                <a:gd name="connsiteX163" fmla="*/ 214337 w 906099"/>
                <a:gd name="connsiteY163" fmla="*/ 591018 h 1186382"/>
                <a:gd name="connsiteX164" fmla="*/ 221687 w 906099"/>
                <a:gd name="connsiteY164" fmla="*/ 588934 h 1186382"/>
                <a:gd name="connsiteX165" fmla="*/ 232995 w 906099"/>
                <a:gd name="connsiteY165" fmla="*/ 586285 h 1186382"/>
                <a:gd name="connsiteX166" fmla="*/ 238907 w 906099"/>
                <a:gd name="connsiteY166" fmla="*/ 586511 h 1186382"/>
                <a:gd name="connsiteX167" fmla="*/ 245288 w 906099"/>
                <a:gd name="connsiteY167" fmla="*/ 586592 h 1186382"/>
                <a:gd name="connsiteX168" fmla="*/ 261362 w 906099"/>
                <a:gd name="connsiteY168" fmla="*/ 574088 h 1186382"/>
                <a:gd name="connsiteX169" fmla="*/ 274511 w 906099"/>
                <a:gd name="connsiteY169" fmla="*/ 561439 h 1186382"/>
                <a:gd name="connsiteX170" fmla="*/ 286595 w 906099"/>
                <a:gd name="connsiteY170" fmla="*/ 557062 h 1186382"/>
                <a:gd name="connsiteX171" fmla="*/ 298484 w 906099"/>
                <a:gd name="connsiteY171" fmla="*/ 552458 h 1186382"/>
                <a:gd name="connsiteX172" fmla="*/ 307870 w 906099"/>
                <a:gd name="connsiteY172" fmla="*/ 540277 h 1186382"/>
                <a:gd name="connsiteX173" fmla="*/ 314445 w 906099"/>
                <a:gd name="connsiteY173" fmla="*/ 530310 h 1186382"/>
                <a:gd name="connsiteX174" fmla="*/ 337157 w 906099"/>
                <a:gd name="connsiteY174" fmla="*/ 520230 h 1186382"/>
                <a:gd name="connsiteX175" fmla="*/ 357302 w 906099"/>
                <a:gd name="connsiteY175" fmla="*/ 535027 h 1186382"/>
                <a:gd name="connsiteX176" fmla="*/ 357996 w 906099"/>
                <a:gd name="connsiteY176" fmla="*/ 537387 h 1186382"/>
                <a:gd name="connsiteX177" fmla="*/ 359967 w 906099"/>
                <a:gd name="connsiteY177" fmla="*/ 541893 h 1186382"/>
                <a:gd name="connsiteX178" fmla="*/ 368561 w 906099"/>
                <a:gd name="connsiteY178" fmla="*/ 542765 h 1186382"/>
                <a:gd name="connsiteX179" fmla="*/ 371663 w 906099"/>
                <a:gd name="connsiteY179" fmla="*/ 542426 h 1186382"/>
                <a:gd name="connsiteX180" fmla="*/ 408301 w 906099"/>
                <a:gd name="connsiteY180" fmla="*/ 563766 h 1186382"/>
                <a:gd name="connsiteX181" fmla="*/ 420820 w 906099"/>
                <a:gd name="connsiteY181" fmla="*/ 581648 h 1186382"/>
                <a:gd name="connsiteX182" fmla="*/ 423663 w 906099"/>
                <a:gd name="connsiteY182" fmla="*/ 592134 h 1186382"/>
                <a:gd name="connsiteX183" fmla="*/ 424875 w 906099"/>
                <a:gd name="connsiteY183" fmla="*/ 597512 h 1186382"/>
                <a:gd name="connsiteX184" fmla="*/ 435795 w 906099"/>
                <a:gd name="connsiteY184" fmla="*/ 618222 h 1186382"/>
                <a:gd name="connsiteX185" fmla="*/ 437766 w 906099"/>
                <a:gd name="connsiteY185" fmla="*/ 620418 h 1186382"/>
                <a:gd name="connsiteX186" fmla="*/ 445310 w 906099"/>
                <a:gd name="connsiteY186" fmla="*/ 631953 h 1186382"/>
                <a:gd name="connsiteX187" fmla="*/ 433840 w 906099"/>
                <a:gd name="connsiteY187" fmla="*/ 658657 h 1186382"/>
                <a:gd name="connsiteX188" fmla="*/ 392566 w 906099"/>
                <a:gd name="connsiteY188" fmla="*/ 695245 h 1186382"/>
                <a:gd name="connsiteX189" fmla="*/ 380935 w 906099"/>
                <a:gd name="connsiteY189" fmla="*/ 702627 h 1186382"/>
                <a:gd name="connsiteX190" fmla="*/ 365556 w 906099"/>
                <a:gd name="connsiteY190" fmla="*/ 705795 h 1186382"/>
                <a:gd name="connsiteX191" fmla="*/ 290181 w 906099"/>
                <a:gd name="connsiteY191" fmla="*/ 713612 h 1186382"/>
                <a:gd name="connsiteX192" fmla="*/ 279503 w 906099"/>
                <a:gd name="connsiteY192" fmla="*/ 714339 h 1186382"/>
                <a:gd name="connsiteX193" fmla="*/ 272686 w 906099"/>
                <a:gd name="connsiteY193" fmla="*/ 713822 h 1186382"/>
                <a:gd name="connsiteX194" fmla="*/ 259068 w 906099"/>
                <a:gd name="connsiteY194" fmla="*/ 709460 h 1186382"/>
                <a:gd name="connsiteX195" fmla="*/ 256241 w 906099"/>
                <a:gd name="connsiteY195" fmla="*/ 708331 h 1186382"/>
                <a:gd name="connsiteX196" fmla="*/ 235144 w 906099"/>
                <a:gd name="connsiteY196" fmla="*/ 701997 h 1186382"/>
                <a:gd name="connsiteX197" fmla="*/ 233189 w 906099"/>
                <a:gd name="connsiteY197" fmla="*/ 701593 h 1186382"/>
                <a:gd name="connsiteX198" fmla="*/ 219910 w 906099"/>
                <a:gd name="connsiteY198" fmla="*/ 697427 h 1186382"/>
                <a:gd name="connsiteX199" fmla="*/ 208990 w 906099"/>
                <a:gd name="connsiteY199" fmla="*/ 688202 h 1186382"/>
                <a:gd name="connsiteX200" fmla="*/ 190930 w 906099"/>
                <a:gd name="connsiteY200" fmla="*/ 669367 h 1186382"/>
                <a:gd name="connsiteX201" fmla="*/ 188119 w 906099"/>
                <a:gd name="connsiteY201" fmla="*/ 665149 h 1186382"/>
                <a:gd name="connsiteX202" fmla="*/ 195049 w 906099"/>
                <a:gd name="connsiteY202" fmla="*/ 654375 h 1186382"/>
                <a:gd name="connsiteX203" fmla="*/ 198021 w 906099"/>
                <a:gd name="connsiteY203" fmla="*/ 653421 h 1186382"/>
                <a:gd name="connsiteX204" fmla="*/ 203029 w 906099"/>
                <a:gd name="connsiteY204" fmla="*/ 651208 h 1186382"/>
                <a:gd name="connsiteX205" fmla="*/ 203401 w 906099"/>
                <a:gd name="connsiteY205" fmla="*/ 642794 h 1186382"/>
                <a:gd name="connsiteX206" fmla="*/ 195016 w 906099"/>
                <a:gd name="connsiteY206" fmla="*/ 634877 h 1186382"/>
                <a:gd name="connsiteX207" fmla="*/ 174694 w 906099"/>
                <a:gd name="connsiteY207" fmla="*/ 620451 h 1186382"/>
                <a:gd name="connsiteX208" fmla="*/ 165680 w 906099"/>
                <a:gd name="connsiteY208" fmla="*/ 631726 h 1186382"/>
                <a:gd name="connsiteX209" fmla="*/ 158411 w 906099"/>
                <a:gd name="connsiteY209" fmla="*/ 643471 h 1186382"/>
                <a:gd name="connsiteX210" fmla="*/ 160479 w 906099"/>
                <a:gd name="connsiteY210" fmla="*/ 648284 h 1186382"/>
                <a:gd name="connsiteX211" fmla="*/ 183272 w 906099"/>
                <a:gd name="connsiteY211" fmla="*/ 688977 h 1186382"/>
                <a:gd name="connsiteX212" fmla="*/ 189459 w 906099"/>
                <a:gd name="connsiteY212" fmla="*/ 729623 h 1186382"/>
                <a:gd name="connsiteX213" fmla="*/ 176795 w 906099"/>
                <a:gd name="connsiteY213" fmla="*/ 741268 h 1186382"/>
                <a:gd name="connsiteX214" fmla="*/ 134212 w 906099"/>
                <a:gd name="connsiteY214" fmla="*/ 763222 h 1186382"/>
                <a:gd name="connsiteX215" fmla="*/ 135165 w 906099"/>
                <a:gd name="connsiteY215" fmla="*/ 766696 h 1186382"/>
                <a:gd name="connsiteX216" fmla="*/ 166553 w 906099"/>
                <a:gd name="connsiteY216" fmla="*/ 796919 h 1186382"/>
                <a:gd name="connsiteX217" fmla="*/ 174161 w 906099"/>
                <a:gd name="connsiteY217" fmla="*/ 795191 h 1186382"/>
                <a:gd name="connsiteX218" fmla="*/ 184969 w 906099"/>
                <a:gd name="connsiteY218" fmla="*/ 793091 h 1186382"/>
                <a:gd name="connsiteX219" fmla="*/ 202302 w 906099"/>
                <a:gd name="connsiteY219" fmla="*/ 804593 h 1186382"/>
                <a:gd name="connsiteX220" fmla="*/ 198910 w 906099"/>
                <a:gd name="connsiteY220" fmla="*/ 817081 h 1186382"/>
                <a:gd name="connsiteX221" fmla="*/ 196180 w 906099"/>
                <a:gd name="connsiteY221" fmla="*/ 826063 h 1186382"/>
                <a:gd name="connsiteX222" fmla="*/ 201090 w 906099"/>
                <a:gd name="connsiteY222" fmla="*/ 832913 h 1186382"/>
                <a:gd name="connsiteX223" fmla="*/ 203029 w 906099"/>
                <a:gd name="connsiteY223" fmla="*/ 834866 h 1186382"/>
                <a:gd name="connsiteX224" fmla="*/ 206066 w 906099"/>
                <a:gd name="connsiteY224" fmla="*/ 850147 h 1186382"/>
                <a:gd name="connsiteX225" fmla="*/ 197375 w 906099"/>
                <a:gd name="connsiteY225" fmla="*/ 854283 h 1186382"/>
                <a:gd name="connsiteX226" fmla="*/ 175098 w 906099"/>
                <a:gd name="connsiteY226" fmla="*/ 844283 h 1186382"/>
                <a:gd name="connsiteX227" fmla="*/ 171464 w 906099"/>
                <a:gd name="connsiteY227" fmla="*/ 841537 h 1186382"/>
                <a:gd name="connsiteX228" fmla="*/ 150205 w 906099"/>
                <a:gd name="connsiteY228" fmla="*/ 838856 h 1186382"/>
                <a:gd name="connsiteX229" fmla="*/ 146635 w 906099"/>
                <a:gd name="connsiteY229" fmla="*/ 850955 h 1186382"/>
                <a:gd name="connsiteX230" fmla="*/ 141934 w 906099"/>
                <a:gd name="connsiteY230" fmla="*/ 866689 h 1186382"/>
                <a:gd name="connsiteX231" fmla="*/ 131466 w 906099"/>
                <a:gd name="connsiteY231" fmla="*/ 870728 h 1186382"/>
                <a:gd name="connsiteX232" fmla="*/ 124552 w 906099"/>
                <a:gd name="connsiteY232" fmla="*/ 866172 h 1186382"/>
                <a:gd name="connsiteX233" fmla="*/ 123373 w 906099"/>
                <a:gd name="connsiteY233" fmla="*/ 859711 h 1186382"/>
                <a:gd name="connsiteX234" fmla="*/ 123033 w 906099"/>
                <a:gd name="connsiteY234" fmla="*/ 856221 h 1186382"/>
                <a:gd name="connsiteX235" fmla="*/ 120352 w 906099"/>
                <a:gd name="connsiteY235" fmla="*/ 853606 h 1186382"/>
                <a:gd name="connsiteX236" fmla="*/ 109771 w 906099"/>
                <a:gd name="connsiteY236" fmla="*/ 855107 h 1186382"/>
                <a:gd name="connsiteX237" fmla="*/ 105328 w 906099"/>
                <a:gd name="connsiteY237" fmla="*/ 858079 h 1186382"/>
                <a:gd name="connsiteX238" fmla="*/ 90402 w 906099"/>
                <a:gd name="connsiteY238" fmla="*/ 864492 h 1186382"/>
                <a:gd name="connsiteX239" fmla="*/ 84102 w 906099"/>
                <a:gd name="connsiteY239" fmla="*/ 863555 h 1186382"/>
                <a:gd name="connsiteX240" fmla="*/ 79966 w 906099"/>
                <a:gd name="connsiteY240" fmla="*/ 862798 h 1186382"/>
                <a:gd name="connsiteX241" fmla="*/ 64571 w 906099"/>
                <a:gd name="connsiteY241" fmla="*/ 876335 h 1186382"/>
                <a:gd name="connsiteX242" fmla="*/ 70241 w 906099"/>
                <a:gd name="connsiteY242" fmla="*/ 899531 h 1186382"/>
                <a:gd name="connsiteX243" fmla="*/ 71728 w 906099"/>
                <a:gd name="connsiteY243" fmla="*/ 901875 h 1186382"/>
                <a:gd name="connsiteX244" fmla="*/ 76315 w 906099"/>
                <a:gd name="connsiteY244" fmla="*/ 910322 h 1186382"/>
                <a:gd name="connsiteX245" fmla="*/ 74312 w 906099"/>
                <a:gd name="connsiteY245" fmla="*/ 931162 h 1186382"/>
                <a:gd name="connsiteX246" fmla="*/ 71614 w 906099"/>
                <a:gd name="connsiteY246" fmla="*/ 932550 h 1186382"/>
                <a:gd name="connsiteX247" fmla="*/ 52553 w 906099"/>
                <a:gd name="connsiteY247" fmla="*/ 937493 h 1186382"/>
                <a:gd name="connsiteX248" fmla="*/ 51729 w 906099"/>
                <a:gd name="connsiteY248" fmla="*/ 944280 h 1186382"/>
                <a:gd name="connsiteX249" fmla="*/ 57932 w 906099"/>
                <a:gd name="connsiteY249" fmla="*/ 952420 h 1186382"/>
                <a:gd name="connsiteX250" fmla="*/ 81162 w 906099"/>
                <a:gd name="connsiteY250" fmla="*/ 954326 h 1186382"/>
                <a:gd name="connsiteX251" fmla="*/ 83504 w 906099"/>
                <a:gd name="connsiteY251" fmla="*/ 954780 h 1186382"/>
                <a:gd name="connsiteX252" fmla="*/ 84716 w 906099"/>
                <a:gd name="connsiteY252" fmla="*/ 956846 h 1186382"/>
                <a:gd name="connsiteX253" fmla="*/ 87058 w 906099"/>
                <a:gd name="connsiteY253" fmla="*/ 965393 h 1186382"/>
                <a:gd name="connsiteX254" fmla="*/ 90305 w 906099"/>
                <a:gd name="connsiteY254" fmla="*/ 967379 h 1186382"/>
                <a:gd name="connsiteX255" fmla="*/ 92130 w 906099"/>
                <a:gd name="connsiteY255" fmla="*/ 967009 h 1186382"/>
                <a:gd name="connsiteX256" fmla="*/ 94101 w 906099"/>
                <a:gd name="connsiteY256" fmla="*/ 963227 h 1186382"/>
                <a:gd name="connsiteX257" fmla="*/ 94408 w 906099"/>
                <a:gd name="connsiteY257" fmla="*/ 962340 h 1186382"/>
                <a:gd name="connsiteX258" fmla="*/ 112711 w 906099"/>
                <a:gd name="connsiteY258" fmla="*/ 938883 h 1186382"/>
                <a:gd name="connsiteX259" fmla="*/ 124665 w 906099"/>
                <a:gd name="connsiteY259" fmla="*/ 930288 h 1186382"/>
                <a:gd name="connsiteX260" fmla="*/ 135811 w 906099"/>
                <a:gd name="connsiteY260" fmla="*/ 927819 h 1186382"/>
                <a:gd name="connsiteX261" fmla="*/ 143194 w 906099"/>
                <a:gd name="connsiteY261" fmla="*/ 926526 h 1186382"/>
                <a:gd name="connsiteX262" fmla="*/ 154259 w 906099"/>
                <a:gd name="connsiteY262" fmla="*/ 921404 h 1186382"/>
                <a:gd name="connsiteX263" fmla="*/ 167667 w 906099"/>
                <a:gd name="connsiteY263" fmla="*/ 915493 h 1186382"/>
                <a:gd name="connsiteX264" fmla="*/ 186051 w 906099"/>
                <a:gd name="connsiteY264" fmla="*/ 921000 h 1186382"/>
                <a:gd name="connsiteX265" fmla="*/ 188829 w 906099"/>
                <a:gd name="connsiteY265" fmla="*/ 932308 h 1186382"/>
                <a:gd name="connsiteX266" fmla="*/ 172562 w 906099"/>
                <a:gd name="connsiteY266" fmla="*/ 942858 h 1186382"/>
                <a:gd name="connsiteX267" fmla="*/ 163839 w 906099"/>
                <a:gd name="connsiteY267" fmla="*/ 945554 h 1186382"/>
                <a:gd name="connsiteX268" fmla="*/ 158136 w 906099"/>
                <a:gd name="connsiteY268" fmla="*/ 949627 h 1186382"/>
                <a:gd name="connsiteX269" fmla="*/ 154954 w 906099"/>
                <a:gd name="connsiteY269" fmla="*/ 952147 h 1186382"/>
                <a:gd name="connsiteX270" fmla="*/ 141336 w 906099"/>
                <a:gd name="connsiteY270" fmla="*/ 959366 h 1186382"/>
                <a:gd name="connsiteX271" fmla="*/ 133469 w 906099"/>
                <a:gd name="connsiteY271" fmla="*/ 963067 h 1186382"/>
                <a:gd name="connsiteX272" fmla="*/ 120659 w 906099"/>
                <a:gd name="connsiteY272" fmla="*/ 978460 h 1186382"/>
                <a:gd name="connsiteX273" fmla="*/ 121531 w 906099"/>
                <a:gd name="connsiteY273" fmla="*/ 986537 h 1186382"/>
                <a:gd name="connsiteX274" fmla="*/ 122016 w 906099"/>
                <a:gd name="connsiteY274" fmla="*/ 998800 h 1186382"/>
                <a:gd name="connsiteX275" fmla="*/ 119528 w 906099"/>
                <a:gd name="connsiteY275" fmla="*/ 1004533 h 1186382"/>
                <a:gd name="connsiteX276" fmla="*/ 118268 w 906099"/>
                <a:gd name="connsiteY276" fmla="*/ 1007021 h 1186382"/>
                <a:gd name="connsiteX277" fmla="*/ 123486 w 906099"/>
                <a:gd name="connsiteY277" fmla="*/ 1030721 h 1186382"/>
                <a:gd name="connsiteX278" fmla="*/ 147685 w 906099"/>
                <a:gd name="connsiteY278" fmla="*/ 1032383 h 1186382"/>
                <a:gd name="connsiteX279" fmla="*/ 151368 w 906099"/>
                <a:gd name="connsiteY279" fmla="*/ 1029606 h 1186382"/>
                <a:gd name="connsiteX280" fmla="*/ 160010 w 906099"/>
                <a:gd name="connsiteY280" fmla="*/ 1024322 h 1186382"/>
                <a:gd name="connsiteX281" fmla="*/ 170753 w 906099"/>
                <a:gd name="connsiteY281" fmla="*/ 1023742 h 1186382"/>
                <a:gd name="connsiteX282" fmla="*/ 180155 w 906099"/>
                <a:gd name="connsiteY282" fmla="*/ 1023014 h 1186382"/>
                <a:gd name="connsiteX283" fmla="*/ 186164 w 906099"/>
                <a:gd name="connsiteY283" fmla="*/ 1017295 h 1186382"/>
                <a:gd name="connsiteX284" fmla="*/ 187182 w 906099"/>
                <a:gd name="connsiteY284" fmla="*/ 1016053 h 1186382"/>
                <a:gd name="connsiteX285" fmla="*/ 212883 w 906099"/>
                <a:gd name="connsiteY285" fmla="*/ 1003564 h 1186382"/>
                <a:gd name="connsiteX286" fmla="*/ 225742 w 906099"/>
                <a:gd name="connsiteY286" fmla="*/ 1015762 h 1186382"/>
                <a:gd name="connsiteX287" fmla="*/ 222366 w 906099"/>
                <a:gd name="connsiteY287" fmla="*/ 1028572 h 1186382"/>
                <a:gd name="connsiteX288" fmla="*/ 215500 w 906099"/>
                <a:gd name="connsiteY288" fmla="*/ 1032126 h 1186382"/>
                <a:gd name="connsiteX289" fmla="*/ 212285 w 906099"/>
                <a:gd name="connsiteY289" fmla="*/ 1033435 h 1186382"/>
                <a:gd name="connsiteX290" fmla="*/ 208990 w 906099"/>
                <a:gd name="connsiteY290" fmla="*/ 1038053 h 1186382"/>
                <a:gd name="connsiteX291" fmla="*/ 212705 w 906099"/>
                <a:gd name="connsiteY291" fmla="*/ 1040622 h 1186382"/>
                <a:gd name="connsiteX292" fmla="*/ 214886 w 906099"/>
                <a:gd name="connsiteY292" fmla="*/ 1041688 h 1186382"/>
                <a:gd name="connsiteX293" fmla="*/ 222172 w 906099"/>
                <a:gd name="connsiteY293" fmla="*/ 1056065 h 1186382"/>
                <a:gd name="connsiteX294" fmla="*/ 216227 w 906099"/>
                <a:gd name="connsiteY294" fmla="*/ 1063593 h 1186382"/>
                <a:gd name="connsiteX295" fmla="*/ 207811 w 906099"/>
                <a:gd name="connsiteY295" fmla="*/ 1063900 h 1186382"/>
                <a:gd name="connsiteX296" fmla="*/ 203530 w 906099"/>
                <a:gd name="connsiteY296" fmla="*/ 1060637 h 1186382"/>
                <a:gd name="connsiteX297" fmla="*/ 201737 w 906099"/>
                <a:gd name="connsiteY297" fmla="*/ 1059021 h 1186382"/>
                <a:gd name="connsiteX298" fmla="*/ 194532 w 906099"/>
                <a:gd name="connsiteY298" fmla="*/ 1057987 h 1186382"/>
                <a:gd name="connsiteX299" fmla="*/ 193595 w 906099"/>
                <a:gd name="connsiteY299" fmla="*/ 1062318 h 1186382"/>
                <a:gd name="connsiteX300" fmla="*/ 186552 w 906099"/>
                <a:gd name="connsiteY300" fmla="*/ 1068069 h 1186382"/>
                <a:gd name="connsiteX301" fmla="*/ 173257 w 906099"/>
                <a:gd name="connsiteY301" fmla="*/ 1065937 h 1186382"/>
                <a:gd name="connsiteX302" fmla="*/ 155810 w 906099"/>
                <a:gd name="connsiteY302" fmla="*/ 1055467 h 1186382"/>
                <a:gd name="connsiteX303" fmla="*/ 140092 w 906099"/>
                <a:gd name="connsiteY303" fmla="*/ 1050284 h 1186382"/>
                <a:gd name="connsiteX304" fmla="*/ 138541 w 906099"/>
                <a:gd name="connsiteY304" fmla="*/ 1053755 h 1186382"/>
                <a:gd name="connsiteX305" fmla="*/ 142628 w 906099"/>
                <a:gd name="connsiteY305" fmla="*/ 1063110 h 1186382"/>
                <a:gd name="connsiteX306" fmla="*/ 146409 w 906099"/>
                <a:gd name="connsiteY306" fmla="*/ 1066664 h 1186382"/>
                <a:gd name="connsiteX307" fmla="*/ 155681 w 906099"/>
                <a:gd name="connsiteY307" fmla="*/ 1078713 h 1186382"/>
                <a:gd name="connsiteX308" fmla="*/ 156392 w 906099"/>
                <a:gd name="connsiteY308" fmla="*/ 1088923 h 1186382"/>
                <a:gd name="connsiteX309" fmla="*/ 157151 w 906099"/>
                <a:gd name="connsiteY309" fmla="*/ 1097824 h 1186382"/>
                <a:gd name="connsiteX310" fmla="*/ 169186 w 906099"/>
                <a:gd name="connsiteY310" fmla="*/ 1106369 h 1186382"/>
                <a:gd name="connsiteX311" fmla="*/ 182061 w 906099"/>
                <a:gd name="connsiteY311" fmla="*/ 1113930 h 1186382"/>
                <a:gd name="connsiteX312" fmla="*/ 185825 w 906099"/>
                <a:gd name="connsiteY312" fmla="*/ 1119002 h 1186382"/>
                <a:gd name="connsiteX313" fmla="*/ 188522 w 906099"/>
                <a:gd name="connsiteY313" fmla="*/ 1122800 h 1186382"/>
                <a:gd name="connsiteX314" fmla="*/ 218715 w 906099"/>
                <a:gd name="connsiteY314" fmla="*/ 1122073 h 1186382"/>
                <a:gd name="connsiteX315" fmla="*/ 234627 w 906099"/>
                <a:gd name="connsiteY315" fmla="*/ 1104416 h 1186382"/>
                <a:gd name="connsiteX316" fmla="*/ 242784 w 906099"/>
                <a:gd name="connsiteY316" fmla="*/ 1094076 h 1186382"/>
                <a:gd name="connsiteX317" fmla="*/ 256709 w 906099"/>
                <a:gd name="connsiteY317" fmla="*/ 1086790 h 1186382"/>
                <a:gd name="connsiteX318" fmla="*/ 263494 w 906099"/>
                <a:gd name="connsiteY318" fmla="*/ 1090184 h 1186382"/>
                <a:gd name="connsiteX319" fmla="*/ 261814 w 906099"/>
                <a:gd name="connsiteY319" fmla="*/ 1106466 h 1186382"/>
                <a:gd name="connsiteX320" fmla="*/ 243835 w 906099"/>
                <a:gd name="connsiteY320" fmla="*/ 1136465 h 1186382"/>
                <a:gd name="connsiteX321" fmla="*/ 242478 w 906099"/>
                <a:gd name="connsiteY321" fmla="*/ 1138662 h 1186382"/>
                <a:gd name="connsiteX322" fmla="*/ 347528 w 906099"/>
                <a:gd name="connsiteY322" fmla="*/ 1149131 h 1186382"/>
                <a:gd name="connsiteX323" fmla="*/ 348368 w 906099"/>
                <a:gd name="connsiteY323" fmla="*/ 1149131 h 1186382"/>
                <a:gd name="connsiteX324" fmla="*/ 348368 w 906099"/>
                <a:gd name="connsiteY324" fmla="*/ 1148984 h 118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</a:cxnLst>
              <a:rect l="l" t="t" r="r" b="b"/>
              <a:pathLst>
                <a:path w="906099" h="1186382">
                  <a:moveTo>
                    <a:pt x="348368" y="1148984"/>
                  </a:moveTo>
                  <a:cubicBezTo>
                    <a:pt x="351228" y="1148984"/>
                    <a:pt x="353764" y="1148887"/>
                    <a:pt x="355686" y="1147870"/>
                  </a:cubicBezTo>
                  <a:cubicBezTo>
                    <a:pt x="356962" y="1147191"/>
                    <a:pt x="358109" y="1146013"/>
                    <a:pt x="359337" y="1144786"/>
                  </a:cubicBezTo>
                  <a:cubicBezTo>
                    <a:pt x="360112" y="1144010"/>
                    <a:pt x="360872" y="1143217"/>
                    <a:pt x="361712" y="1142506"/>
                  </a:cubicBezTo>
                  <a:cubicBezTo>
                    <a:pt x="370677" y="1134801"/>
                    <a:pt x="383084" y="1136723"/>
                    <a:pt x="394004" y="1138403"/>
                  </a:cubicBezTo>
                  <a:cubicBezTo>
                    <a:pt x="396815" y="1138839"/>
                    <a:pt x="399464" y="1139243"/>
                    <a:pt x="402081" y="1139518"/>
                  </a:cubicBezTo>
                  <a:cubicBezTo>
                    <a:pt x="407606" y="1140099"/>
                    <a:pt x="413454" y="1139923"/>
                    <a:pt x="419108" y="1139746"/>
                  </a:cubicBezTo>
                  <a:cubicBezTo>
                    <a:pt x="429721" y="1139422"/>
                    <a:pt x="440706" y="1139098"/>
                    <a:pt x="450770" y="1143540"/>
                  </a:cubicBezTo>
                  <a:cubicBezTo>
                    <a:pt x="463419" y="1149130"/>
                    <a:pt x="471237" y="1159468"/>
                    <a:pt x="478797" y="1169484"/>
                  </a:cubicBezTo>
                  <a:cubicBezTo>
                    <a:pt x="483191" y="1175299"/>
                    <a:pt x="487715" y="1181294"/>
                    <a:pt x="493207" y="1186383"/>
                  </a:cubicBezTo>
                  <a:cubicBezTo>
                    <a:pt x="499039" y="1172103"/>
                    <a:pt x="510056" y="1160228"/>
                    <a:pt x="523965" y="1153427"/>
                  </a:cubicBezTo>
                  <a:cubicBezTo>
                    <a:pt x="525790" y="1152522"/>
                    <a:pt x="527712" y="1151684"/>
                    <a:pt x="529635" y="1150844"/>
                  </a:cubicBezTo>
                  <a:cubicBezTo>
                    <a:pt x="537243" y="1147500"/>
                    <a:pt x="544416" y="1144332"/>
                    <a:pt x="547146" y="1137789"/>
                  </a:cubicBezTo>
                  <a:cubicBezTo>
                    <a:pt x="547598" y="1136707"/>
                    <a:pt x="547921" y="1135528"/>
                    <a:pt x="548260" y="1134268"/>
                  </a:cubicBezTo>
                  <a:cubicBezTo>
                    <a:pt x="548745" y="1132491"/>
                    <a:pt x="549246" y="1130651"/>
                    <a:pt x="550183" y="1128841"/>
                  </a:cubicBezTo>
                  <a:cubicBezTo>
                    <a:pt x="553543" y="1122299"/>
                    <a:pt x="560586" y="1119600"/>
                    <a:pt x="566806" y="1117209"/>
                  </a:cubicBezTo>
                  <a:cubicBezTo>
                    <a:pt x="567791" y="1116837"/>
                    <a:pt x="568776" y="1116450"/>
                    <a:pt x="569746" y="1116062"/>
                  </a:cubicBezTo>
                  <a:cubicBezTo>
                    <a:pt x="585431" y="1109697"/>
                    <a:pt x="597224" y="1097615"/>
                    <a:pt x="609711" y="1084821"/>
                  </a:cubicBezTo>
                  <a:cubicBezTo>
                    <a:pt x="618047" y="1076292"/>
                    <a:pt x="626657" y="1067456"/>
                    <a:pt x="636543" y="1060493"/>
                  </a:cubicBezTo>
                  <a:cubicBezTo>
                    <a:pt x="640533" y="1057682"/>
                    <a:pt x="645897" y="1054369"/>
                    <a:pt x="652035" y="1053674"/>
                  </a:cubicBezTo>
                  <a:cubicBezTo>
                    <a:pt x="658093" y="1052996"/>
                    <a:pt x="663747" y="1054902"/>
                    <a:pt x="669191" y="1056728"/>
                  </a:cubicBezTo>
                  <a:cubicBezTo>
                    <a:pt x="673730" y="1058262"/>
                    <a:pt x="678043" y="1059684"/>
                    <a:pt x="682340" y="1059651"/>
                  </a:cubicBezTo>
                  <a:cubicBezTo>
                    <a:pt x="696217" y="1059490"/>
                    <a:pt x="705570" y="1044757"/>
                    <a:pt x="713082" y="1032900"/>
                  </a:cubicBezTo>
                  <a:cubicBezTo>
                    <a:pt x="731013" y="1004630"/>
                    <a:pt x="750140" y="988266"/>
                    <a:pt x="771528" y="982870"/>
                  </a:cubicBezTo>
                  <a:cubicBezTo>
                    <a:pt x="775017" y="981998"/>
                    <a:pt x="778393" y="981271"/>
                    <a:pt x="781673" y="980577"/>
                  </a:cubicBezTo>
                  <a:cubicBezTo>
                    <a:pt x="795323" y="977669"/>
                    <a:pt x="807115" y="975166"/>
                    <a:pt x="816259" y="962857"/>
                  </a:cubicBezTo>
                  <a:cubicBezTo>
                    <a:pt x="827292" y="947995"/>
                    <a:pt x="833786" y="926589"/>
                    <a:pt x="839521" y="907689"/>
                  </a:cubicBezTo>
                  <a:cubicBezTo>
                    <a:pt x="840167" y="905556"/>
                    <a:pt x="840813" y="903456"/>
                    <a:pt x="841427" y="901421"/>
                  </a:cubicBezTo>
                  <a:cubicBezTo>
                    <a:pt x="848066" y="879887"/>
                    <a:pt x="855400" y="848275"/>
                    <a:pt x="842509" y="822412"/>
                  </a:cubicBezTo>
                  <a:lnTo>
                    <a:pt x="841734" y="820910"/>
                  </a:lnTo>
                  <a:cubicBezTo>
                    <a:pt x="839941" y="817405"/>
                    <a:pt x="837905" y="813429"/>
                    <a:pt x="838083" y="808954"/>
                  </a:cubicBezTo>
                  <a:cubicBezTo>
                    <a:pt x="838325" y="803058"/>
                    <a:pt x="842025" y="798842"/>
                    <a:pt x="845611" y="794771"/>
                  </a:cubicBezTo>
                  <a:cubicBezTo>
                    <a:pt x="847436" y="792687"/>
                    <a:pt x="849165" y="790732"/>
                    <a:pt x="850393" y="788616"/>
                  </a:cubicBezTo>
                  <a:cubicBezTo>
                    <a:pt x="852897" y="784255"/>
                    <a:pt x="853381" y="778940"/>
                    <a:pt x="853898" y="773302"/>
                  </a:cubicBezTo>
                  <a:cubicBezTo>
                    <a:pt x="854496" y="766646"/>
                    <a:pt x="855126" y="759782"/>
                    <a:pt x="859261" y="754064"/>
                  </a:cubicBezTo>
                  <a:cubicBezTo>
                    <a:pt x="862444" y="749670"/>
                    <a:pt x="866999" y="746988"/>
                    <a:pt x="871393" y="744388"/>
                  </a:cubicBezTo>
                  <a:cubicBezTo>
                    <a:pt x="872233" y="743887"/>
                    <a:pt x="873073" y="743400"/>
                    <a:pt x="873913" y="742884"/>
                  </a:cubicBezTo>
                  <a:cubicBezTo>
                    <a:pt x="881021" y="738538"/>
                    <a:pt x="890067" y="731172"/>
                    <a:pt x="892814" y="720801"/>
                  </a:cubicBezTo>
                  <a:cubicBezTo>
                    <a:pt x="895059" y="712336"/>
                    <a:pt x="891408" y="700834"/>
                    <a:pt x="882588" y="697894"/>
                  </a:cubicBezTo>
                  <a:cubicBezTo>
                    <a:pt x="879745" y="696941"/>
                    <a:pt x="876223" y="696684"/>
                    <a:pt x="872815" y="696426"/>
                  </a:cubicBezTo>
                  <a:cubicBezTo>
                    <a:pt x="865642" y="695876"/>
                    <a:pt x="857533" y="695261"/>
                    <a:pt x="854302" y="687782"/>
                  </a:cubicBezTo>
                  <a:cubicBezTo>
                    <a:pt x="853672" y="686344"/>
                    <a:pt x="854318" y="684665"/>
                    <a:pt x="855756" y="684003"/>
                  </a:cubicBezTo>
                  <a:lnTo>
                    <a:pt x="899421" y="663857"/>
                  </a:lnTo>
                  <a:cubicBezTo>
                    <a:pt x="902231" y="662565"/>
                    <a:pt x="904832" y="661224"/>
                    <a:pt x="905737" y="659140"/>
                  </a:cubicBezTo>
                  <a:cubicBezTo>
                    <a:pt x="907336" y="655489"/>
                    <a:pt x="903201" y="650772"/>
                    <a:pt x="901892" y="649399"/>
                  </a:cubicBezTo>
                  <a:cubicBezTo>
                    <a:pt x="886982" y="633827"/>
                    <a:pt x="865061" y="630208"/>
                    <a:pt x="841863" y="626363"/>
                  </a:cubicBezTo>
                  <a:cubicBezTo>
                    <a:pt x="819328" y="622632"/>
                    <a:pt x="796034" y="618787"/>
                    <a:pt x="779605" y="602940"/>
                  </a:cubicBezTo>
                  <a:cubicBezTo>
                    <a:pt x="772594" y="596187"/>
                    <a:pt x="767279" y="588013"/>
                    <a:pt x="762126" y="580098"/>
                  </a:cubicBezTo>
                  <a:cubicBezTo>
                    <a:pt x="754081" y="567740"/>
                    <a:pt x="746473" y="556060"/>
                    <a:pt x="733371" y="550778"/>
                  </a:cubicBezTo>
                  <a:cubicBezTo>
                    <a:pt x="726070" y="547822"/>
                    <a:pt x="718897" y="552054"/>
                    <a:pt x="710594" y="556949"/>
                  </a:cubicBezTo>
                  <a:cubicBezTo>
                    <a:pt x="703696" y="561003"/>
                    <a:pt x="696556" y="565203"/>
                    <a:pt x="688576" y="565446"/>
                  </a:cubicBezTo>
                  <a:cubicBezTo>
                    <a:pt x="682130" y="565623"/>
                    <a:pt x="676040" y="563184"/>
                    <a:pt x="670968" y="558322"/>
                  </a:cubicBezTo>
                  <a:cubicBezTo>
                    <a:pt x="663472" y="551149"/>
                    <a:pt x="658513" y="538759"/>
                    <a:pt x="658335" y="526789"/>
                  </a:cubicBezTo>
                  <a:cubicBezTo>
                    <a:pt x="658238" y="520214"/>
                    <a:pt x="658998" y="513623"/>
                    <a:pt x="659741" y="507226"/>
                  </a:cubicBezTo>
                  <a:cubicBezTo>
                    <a:pt x="660936" y="496839"/>
                    <a:pt x="662067" y="487033"/>
                    <a:pt x="659821" y="477454"/>
                  </a:cubicBezTo>
                  <a:cubicBezTo>
                    <a:pt x="659256" y="475047"/>
                    <a:pt x="658497" y="472608"/>
                    <a:pt x="657705" y="470007"/>
                  </a:cubicBezTo>
                  <a:cubicBezTo>
                    <a:pt x="655008" y="461283"/>
                    <a:pt x="651954" y="451381"/>
                    <a:pt x="657350" y="443061"/>
                  </a:cubicBezTo>
                  <a:cubicBezTo>
                    <a:pt x="658561" y="441188"/>
                    <a:pt x="660064" y="439669"/>
                    <a:pt x="661502" y="438215"/>
                  </a:cubicBezTo>
                  <a:cubicBezTo>
                    <a:pt x="662551" y="437149"/>
                    <a:pt x="663537" y="436147"/>
                    <a:pt x="664361" y="435081"/>
                  </a:cubicBezTo>
                  <a:cubicBezTo>
                    <a:pt x="667204" y="431350"/>
                    <a:pt x="668205" y="426520"/>
                    <a:pt x="669272" y="421399"/>
                  </a:cubicBezTo>
                  <a:cubicBezTo>
                    <a:pt x="669805" y="418830"/>
                    <a:pt x="670354" y="416181"/>
                    <a:pt x="671162" y="413612"/>
                  </a:cubicBezTo>
                  <a:cubicBezTo>
                    <a:pt x="675620" y="399364"/>
                    <a:pt x="687041" y="389413"/>
                    <a:pt x="698091" y="379802"/>
                  </a:cubicBezTo>
                  <a:cubicBezTo>
                    <a:pt x="700062" y="378089"/>
                    <a:pt x="702016" y="376377"/>
                    <a:pt x="703922" y="374665"/>
                  </a:cubicBezTo>
                  <a:cubicBezTo>
                    <a:pt x="728509" y="352469"/>
                    <a:pt x="750996" y="316154"/>
                    <a:pt x="740657" y="280599"/>
                  </a:cubicBezTo>
                  <a:cubicBezTo>
                    <a:pt x="736522" y="276205"/>
                    <a:pt x="729495" y="276221"/>
                    <a:pt x="722144" y="276237"/>
                  </a:cubicBezTo>
                  <a:cubicBezTo>
                    <a:pt x="714100" y="276237"/>
                    <a:pt x="705861" y="276253"/>
                    <a:pt x="699674" y="270874"/>
                  </a:cubicBezTo>
                  <a:cubicBezTo>
                    <a:pt x="696007" y="267691"/>
                    <a:pt x="694133" y="263394"/>
                    <a:pt x="692324" y="259259"/>
                  </a:cubicBezTo>
                  <a:cubicBezTo>
                    <a:pt x="690741" y="255640"/>
                    <a:pt x="689238" y="252232"/>
                    <a:pt x="686702" y="249873"/>
                  </a:cubicBezTo>
                  <a:cubicBezTo>
                    <a:pt x="684521" y="247854"/>
                    <a:pt x="681581" y="246626"/>
                    <a:pt x="678480" y="245334"/>
                  </a:cubicBezTo>
                  <a:cubicBezTo>
                    <a:pt x="677575" y="244962"/>
                    <a:pt x="676654" y="244575"/>
                    <a:pt x="675766" y="244171"/>
                  </a:cubicBezTo>
                  <a:cubicBezTo>
                    <a:pt x="654361" y="234608"/>
                    <a:pt x="640469" y="210732"/>
                    <a:pt x="642730" y="187389"/>
                  </a:cubicBezTo>
                  <a:cubicBezTo>
                    <a:pt x="642973" y="184901"/>
                    <a:pt x="643376" y="182413"/>
                    <a:pt x="643780" y="179990"/>
                  </a:cubicBezTo>
                  <a:cubicBezTo>
                    <a:pt x="644669" y="174546"/>
                    <a:pt x="645525" y="169409"/>
                    <a:pt x="644523" y="164450"/>
                  </a:cubicBezTo>
                  <a:cubicBezTo>
                    <a:pt x="643732" y="160557"/>
                    <a:pt x="640937" y="156760"/>
                    <a:pt x="637545" y="155000"/>
                  </a:cubicBezTo>
                  <a:cubicBezTo>
                    <a:pt x="636059" y="154224"/>
                    <a:pt x="633797" y="153530"/>
                    <a:pt x="631422" y="154580"/>
                  </a:cubicBezTo>
                  <a:cubicBezTo>
                    <a:pt x="630421" y="155032"/>
                    <a:pt x="629419" y="155759"/>
                    <a:pt x="628353" y="156550"/>
                  </a:cubicBezTo>
                  <a:cubicBezTo>
                    <a:pt x="626608" y="157843"/>
                    <a:pt x="624605" y="159313"/>
                    <a:pt x="622037" y="159830"/>
                  </a:cubicBezTo>
                  <a:cubicBezTo>
                    <a:pt x="615446" y="161138"/>
                    <a:pt x="610939" y="155807"/>
                    <a:pt x="607320" y="151526"/>
                  </a:cubicBezTo>
                  <a:cubicBezTo>
                    <a:pt x="606222" y="150234"/>
                    <a:pt x="605188" y="149006"/>
                    <a:pt x="604138" y="147956"/>
                  </a:cubicBezTo>
                  <a:cubicBezTo>
                    <a:pt x="598936" y="142836"/>
                    <a:pt x="589938" y="141705"/>
                    <a:pt x="583654" y="145404"/>
                  </a:cubicBezTo>
                  <a:cubicBezTo>
                    <a:pt x="582701" y="145969"/>
                    <a:pt x="581748" y="146648"/>
                    <a:pt x="580747" y="147359"/>
                  </a:cubicBezTo>
                  <a:cubicBezTo>
                    <a:pt x="578356" y="149071"/>
                    <a:pt x="575658" y="150993"/>
                    <a:pt x="572282" y="151559"/>
                  </a:cubicBezTo>
                  <a:cubicBezTo>
                    <a:pt x="568130" y="152237"/>
                    <a:pt x="564172" y="150622"/>
                    <a:pt x="561297" y="149443"/>
                  </a:cubicBezTo>
                  <a:cubicBezTo>
                    <a:pt x="550377" y="144984"/>
                    <a:pt x="539392" y="140235"/>
                    <a:pt x="528633" y="135356"/>
                  </a:cubicBezTo>
                  <a:cubicBezTo>
                    <a:pt x="526275" y="134274"/>
                    <a:pt x="519070" y="131011"/>
                    <a:pt x="519102" y="124517"/>
                  </a:cubicBezTo>
                  <a:cubicBezTo>
                    <a:pt x="519118" y="120478"/>
                    <a:pt x="521945" y="117570"/>
                    <a:pt x="524401" y="115470"/>
                  </a:cubicBezTo>
                  <a:cubicBezTo>
                    <a:pt x="526436" y="113742"/>
                    <a:pt x="528569" y="112126"/>
                    <a:pt x="530636" y="110576"/>
                  </a:cubicBezTo>
                  <a:cubicBezTo>
                    <a:pt x="534546" y="107619"/>
                    <a:pt x="538245" y="104841"/>
                    <a:pt x="541233" y="101352"/>
                  </a:cubicBezTo>
                  <a:cubicBezTo>
                    <a:pt x="545240" y="96667"/>
                    <a:pt x="548018" y="89414"/>
                    <a:pt x="545207" y="83808"/>
                  </a:cubicBezTo>
                  <a:cubicBezTo>
                    <a:pt x="543673" y="80771"/>
                    <a:pt x="541088" y="78849"/>
                    <a:pt x="537502" y="78122"/>
                  </a:cubicBezTo>
                  <a:cubicBezTo>
                    <a:pt x="530556" y="76716"/>
                    <a:pt x="520508" y="79963"/>
                    <a:pt x="513594" y="85860"/>
                  </a:cubicBezTo>
                  <a:cubicBezTo>
                    <a:pt x="511801" y="87378"/>
                    <a:pt x="510023" y="89010"/>
                    <a:pt x="508214" y="90641"/>
                  </a:cubicBezTo>
                  <a:cubicBezTo>
                    <a:pt x="499249" y="98767"/>
                    <a:pt x="489120" y="107975"/>
                    <a:pt x="476342" y="106602"/>
                  </a:cubicBezTo>
                  <a:cubicBezTo>
                    <a:pt x="472126" y="106149"/>
                    <a:pt x="468717" y="104405"/>
                    <a:pt x="466730" y="101691"/>
                  </a:cubicBezTo>
                  <a:cubicBezTo>
                    <a:pt x="464178" y="98201"/>
                    <a:pt x="464339" y="93694"/>
                    <a:pt x="464452" y="90706"/>
                  </a:cubicBezTo>
                  <a:lnTo>
                    <a:pt x="466569" y="32179"/>
                  </a:lnTo>
                  <a:cubicBezTo>
                    <a:pt x="466795" y="25750"/>
                    <a:pt x="466779" y="20080"/>
                    <a:pt x="464049" y="15767"/>
                  </a:cubicBezTo>
                  <a:cubicBezTo>
                    <a:pt x="462207" y="12859"/>
                    <a:pt x="459897" y="9903"/>
                    <a:pt x="457668" y="7059"/>
                  </a:cubicBezTo>
                  <a:cubicBezTo>
                    <a:pt x="455552" y="4362"/>
                    <a:pt x="453742" y="2052"/>
                    <a:pt x="452498" y="0"/>
                  </a:cubicBezTo>
                  <a:cubicBezTo>
                    <a:pt x="434680" y="9531"/>
                    <a:pt x="417589" y="20322"/>
                    <a:pt x="401241" y="30887"/>
                  </a:cubicBezTo>
                  <a:cubicBezTo>
                    <a:pt x="383520" y="42324"/>
                    <a:pt x="368044" y="53067"/>
                    <a:pt x="358222" y="68542"/>
                  </a:cubicBezTo>
                  <a:cubicBezTo>
                    <a:pt x="356025" y="71999"/>
                    <a:pt x="354087" y="75779"/>
                    <a:pt x="352213" y="79430"/>
                  </a:cubicBezTo>
                  <a:cubicBezTo>
                    <a:pt x="349790" y="84147"/>
                    <a:pt x="347270" y="89042"/>
                    <a:pt x="344088" y="93533"/>
                  </a:cubicBezTo>
                  <a:cubicBezTo>
                    <a:pt x="339274" y="100301"/>
                    <a:pt x="332925" y="106101"/>
                    <a:pt x="327820" y="110769"/>
                  </a:cubicBezTo>
                  <a:cubicBezTo>
                    <a:pt x="291102" y="144257"/>
                    <a:pt x="252461" y="176533"/>
                    <a:pt x="212948" y="206693"/>
                  </a:cubicBezTo>
                  <a:cubicBezTo>
                    <a:pt x="200913" y="215885"/>
                    <a:pt x="187973" y="225513"/>
                    <a:pt x="173984" y="233444"/>
                  </a:cubicBezTo>
                  <a:cubicBezTo>
                    <a:pt x="166084" y="237919"/>
                    <a:pt x="157781" y="241877"/>
                    <a:pt x="149752" y="245705"/>
                  </a:cubicBezTo>
                  <a:cubicBezTo>
                    <a:pt x="138348" y="251133"/>
                    <a:pt x="126555" y="256755"/>
                    <a:pt x="116006" y="263863"/>
                  </a:cubicBezTo>
                  <a:cubicBezTo>
                    <a:pt x="95474" y="277659"/>
                    <a:pt x="83052" y="296042"/>
                    <a:pt x="81921" y="314280"/>
                  </a:cubicBezTo>
                  <a:cubicBezTo>
                    <a:pt x="81679" y="318351"/>
                    <a:pt x="82939" y="321953"/>
                    <a:pt x="84279" y="325782"/>
                  </a:cubicBezTo>
                  <a:cubicBezTo>
                    <a:pt x="85830" y="330192"/>
                    <a:pt x="87413" y="334731"/>
                    <a:pt x="86848" y="340240"/>
                  </a:cubicBezTo>
                  <a:cubicBezTo>
                    <a:pt x="86493" y="343648"/>
                    <a:pt x="88786" y="346750"/>
                    <a:pt x="91452" y="350320"/>
                  </a:cubicBezTo>
                  <a:cubicBezTo>
                    <a:pt x="94020" y="353777"/>
                    <a:pt x="96928" y="357703"/>
                    <a:pt x="97380" y="362484"/>
                  </a:cubicBezTo>
                  <a:cubicBezTo>
                    <a:pt x="97639" y="365166"/>
                    <a:pt x="97074" y="367621"/>
                    <a:pt x="96540" y="369980"/>
                  </a:cubicBezTo>
                  <a:cubicBezTo>
                    <a:pt x="96120" y="371821"/>
                    <a:pt x="95733" y="373582"/>
                    <a:pt x="95781" y="375214"/>
                  </a:cubicBezTo>
                  <a:cubicBezTo>
                    <a:pt x="95894" y="378848"/>
                    <a:pt x="98221" y="382629"/>
                    <a:pt x="100466" y="386279"/>
                  </a:cubicBezTo>
                  <a:cubicBezTo>
                    <a:pt x="103745" y="391643"/>
                    <a:pt x="107477" y="397700"/>
                    <a:pt x="104537" y="404291"/>
                  </a:cubicBezTo>
                  <a:cubicBezTo>
                    <a:pt x="102857" y="408055"/>
                    <a:pt x="99545" y="410285"/>
                    <a:pt x="96605" y="412239"/>
                  </a:cubicBezTo>
                  <a:cubicBezTo>
                    <a:pt x="94392" y="413725"/>
                    <a:pt x="92292" y="415131"/>
                    <a:pt x="91080" y="416989"/>
                  </a:cubicBezTo>
                  <a:cubicBezTo>
                    <a:pt x="87704" y="422158"/>
                    <a:pt x="91726" y="429605"/>
                    <a:pt x="93035" y="431754"/>
                  </a:cubicBezTo>
                  <a:cubicBezTo>
                    <a:pt x="93940" y="433240"/>
                    <a:pt x="94925" y="434679"/>
                    <a:pt x="95927" y="436117"/>
                  </a:cubicBezTo>
                  <a:cubicBezTo>
                    <a:pt x="98624" y="440042"/>
                    <a:pt x="101419" y="444113"/>
                    <a:pt x="102614" y="449040"/>
                  </a:cubicBezTo>
                  <a:cubicBezTo>
                    <a:pt x="103309" y="451964"/>
                    <a:pt x="103374" y="454886"/>
                    <a:pt x="103422" y="457713"/>
                  </a:cubicBezTo>
                  <a:cubicBezTo>
                    <a:pt x="103487" y="460944"/>
                    <a:pt x="103535" y="463997"/>
                    <a:pt x="104553" y="466679"/>
                  </a:cubicBezTo>
                  <a:cubicBezTo>
                    <a:pt x="106314" y="471299"/>
                    <a:pt x="110756" y="474546"/>
                    <a:pt x="115958" y="478003"/>
                  </a:cubicBezTo>
                  <a:lnTo>
                    <a:pt x="160560" y="507646"/>
                  </a:lnTo>
                  <a:cubicBezTo>
                    <a:pt x="164243" y="510101"/>
                    <a:pt x="172869" y="515820"/>
                    <a:pt x="172320" y="524366"/>
                  </a:cubicBezTo>
                  <a:cubicBezTo>
                    <a:pt x="172110" y="527677"/>
                    <a:pt x="170575" y="530633"/>
                    <a:pt x="167894" y="532911"/>
                  </a:cubicBezTo>
                  <a:cubicBezTo>
                    <a:pt x="163903" y="536304"/>
                    <a:pt x="157313" y="538081"/>
                    <a:pt x="151109" y="537467"/>
                  </a:cubicBezTo>
                  <a:cubicBezTo>
                    <a:pt x="144098" y="536772"/>
                    <a:pt x="137265" y="534365"/>
                    <a:pt x="131369" y="530488"/>
                  </a:cubicBezTo>
                  <a:cubicBezTo>
                    <a:pt x="128122" y="528356"/>
                    <a:pt x="125214" y="525836"/>
                    <a:pt x="122403" y="523396"/>
                  </a:cubicBezTo>
                  <a:cubicBezTo>
                    <a:pt x="119883" y="521216"/>
                    <a:pt x="117509" y="519148"/>
                    <a:pt x="114908" y="517355"/>
                  </a:cubicBezTo>
                  <a:cubicBezTo>
                    <a:pt x="109916" y="513898"/>
                    <a:pt x="103891" y="511281"/>
                    <a:pt x="98059" y="508761"/>
                  </a:cubicBezTo>
                  <a:cubicBezTo>
                    <a:pt x="87106" y="504011"/>
                    <a:pt x="75766" y="499100"/>
                    <a:pt x="69951" y="488196"/>
                  </a:cubicBezTo>
                  <a:cubicBezTo>
                    <a:pt x="65670" y="480168"/>
                    <a:pt x="65654" y="471089"/>
                    <a:pt x="65654" y="462317"/>
                  </a:cubicBezTo>
                  <a:lnTo>
                    <a:pt x="65654" y="460282"/>
                  </a:lnTo>
                  <a:cubicBezTo>
                    <a:pt x="65605" y="449959"/>
                    <a:pt x="64927" y="439509"/>
                    <a:pt x="63618" y="429251"/>
                  </a:cubicBezTo>
                  <a:cubicBezTo>
                    <a:pt x="63134" y="425439"/>
                    <a:pt x="62536" y="421819"/>
                    <a:pt x="60533" y="419186"/>
                  </a:cubicBezTo>
                  <a:cubicBezTo>
                    <a:pt x="58950" y="417118"/>
                    <a:pt x="55751" y="415712"/>
                    <a:pt x="53667" y="417005"/>
                  </a:cubicBezTo>
                  <a:cubicBezTo>
                    <a:pt x="52488" y="417748"/>
                    <a:pt x="51632" y="419299"/>
                    <a:pt x="50727" y="420930"/>
                  </a:cubicBezTo>
                  <a:cubicBezTo>
                    <a:pt x="49483" y="423192"/>
                    <a:pt x="48062" y="425744"/>
                    <a:pt x="45315" y="427214"/>
                  </a:cubicBezTo>
                  <a:cubicBezTo>
                    <a:pt x="41212" y="429411"/>
                    <a:pt x="36608" y="427877"/>
                    <a:pt x="33507" y="426520"/>
                  </a:cubicBezTo>
                  <a:cubicBezTo>
                    <a:pt x="31601" y="425696"/>
                    <a:pt x="29710" y="424759"/>
                    <a:pt x="27837" y="423838"/>
                  </a:cubicBezTo>
                  <a:cubicBezTo>
                    <a:pt x="22958" y="421431"/>
                    <a:pt x="18338" y="419171"/>
                    <a:pt x="13379" y="418654"/>
                  </a:cubicBezTo>
                  <a:cubicBezTo>
                    <a:pt x="9615" y="418266"/>
                    <a:pt x="5447" y="419543"/>
                    <a:pt x="2749" y="421885"/>
                  </a:cubicBezTo>
                  <a:cubicBezTo>
                    <a:pt x="1538" y="422951"/>
                    <a:pt x="68" y="424743"/>
                    <a:pt x="3" y="427246"/>
                  </a:cubicBezTo>
                  <a:cubicBezTo>
                    <a:pt x="-110" y="431317"/>
                    <a:pt x="3040" y="434532"/>
                    <a:pt x="6707" y="438264"/>
                  </a:cubicBezTo>
                  <a:cubicBezTo>
                    <a:pt x="9001" y="440606"/>
                    <a:pt x="11375" y="443029"/>
                    <a:pt x="13104" y="445888"/>
                  </a:cubicBezTo>
                  <a:cubicBezTo>
                    <a:pt x="18548" y="454935"/>
                    <a:pt x="16028" y="465112"/>
                    <a:pt x="13572" y="474966"/>
                  </a:cubicBezTo>
                  <a:cubicBezTo>
                    <a:pt x="11553" y="483124"/>
                    <a:pt x="9631" y="490813"/>
                    <a:pt x="11941" y="497743"/>
                  </a:cubicBezTo>
                  <a:cubicBezTo>
                    <a:pt x="13750" y="503155"/>
                    <a:pt x="18096" y="507533"/>
                    <a:pt x="22102" y="511087"/>
                  </a:cubicBezTo>
                  <a:cubicBezTo>
                    <a:pt x="26270" y="514786"/>
                    <a:pt x="30809" y="518275"/>
                    <a:pt x="35203" y="521652"/>
                  </a:cubicBezTo>
                  <a:cubicBezTo>
                    <a:pt x="42424" y="527193"/>
                    <a:pt x="49887" y="532945"/>
                    <a:pt x="56155" y="539908"/>
                  </a:cubicBezTo>
                  <a:cubicBezTo>
                    <a:pt x="64604" y="549293"/>
                    <a:pt x="72745" y="560470"/>
                    <a:pt x="72002" y="573684"/>
                  </a:cubicBezTo>
                  <a:cubicBezTo>
                    <a:pt x="81388" y="574217"/>
                    <a:pt x="89287" y="579629"/>
                    <a:pt x="96944" y="584912"/>
                  </a:cubicBezTo>
                  <a:cubicBezTo>
                    <a:pt x="102921" y="589031"/>
                    <a:pt x="109092" y="593279"/>
                    <a:pt x="115732" y="594911"/>
                  </a:cubicBezTo>
                  <a:cubicBezTo>
                    <a:pt x="122161" y="596494"/>
                    <a:pt x="129188" y="595640"/>
                    <a:pt x="135989" y="594832"/>
                  </a:cubicBezTo>
                  <a:lnTo>
                    <a:pt x="138396" y="594541"/>
                  </a:lnTo>
                  <a:cubicBezTo>
                    <a:pt x="146812" y="593572"/>
                    <a:pt x="155649" y="593166"/>
                    <a:pt x="163403" y="596785"/>
                  </a:cubicBezTo>
                  <a:cubicBezTo>
                    <a:pt x="165260" y="597657"/>
                    <a:pt x="167037" y="598854"/>
                    <a:pt x="168653" y="600292"/>
                  </a:cubicBezTo>
                  <a:cubicBezTo>
                    <a:pt x="168879" y="599904"/>
                    <a:pt x="169105" y="599531"/>
                    <a:pt x="169364" y="599160"/>
                  </a:cubicBezTo>
                  <a:cubicBezTo>
                    <a:pt x="175066" y="590743"/>
                    <a:pt x="186164" y="589919"/>
                    <a:pt x="192270" y="590178"/>
                  </a:cubicBezTo>
                  <a:cubicBezTo>
                    <a:pt x="194823" y="590291"/>
                    <a:pt x="197359" y="590549"/>
                    <a:pt x="199830" y="590808"/>
                  </a:cubicBezTo>
                  <a:cubicBezTo>
                    <a:pt x="204903" y="591341"/>
                    <a:pt x="209685" y="591858"/>
                    <a:pt x="214337" y="591018"/>
                  </a:cubicBezTo>
                  <a:cubicBezTo>
                    <a:pt x="216760" y="590582"/>
                    <a:pt x="219151" y="589790"/>
                    <a:pt x="221687" y="588934"/>
                  </a:cubicBezTo>
                  <a:cubicBezTo>
                    <a:pt x="225273" y="587739"/>
                    <a:pt x="228973" y="586495"/>
                    <a:pt x="232995" y="586285"/>
                  </a:cubicBezTo>
                  <a:cubicBezTo>
                    <a:pt x="235030" y="586172"/>
                    <a:pt x="237001" y="586349"/>
                    <a:pt x="238907" y="586511"/>
                  </a:cubicBezTo>
                  <a:cubicBezTo>
                    <a:pt x="241153" y="586705"/>
                    <a:pt x="243285" y="586882"/>
                    <a:pt x="245288" y="586592"/>
                  </a:cubicBezTo>
                  <a:cubicBezTo>
                    <a:pt x="251912" y="585655"/>
                    <a:pt x="256499" y="580033"/>
                    <a:pt x="261362" y="574088"/>
                  </a:cubicBezTo>
                  <a:cubicBezTo>
                    <a:pt x="265207" y="569387"/>
                    <a:pt x="269181" y="564525"/>
                    <a:pt x="274511" y="561439"/>
                  </a:cubicBezTo>
                  <a:cubicBezTo>
                    <a:pt x="278340" y="559226"/>
                    <a:pt x="282540" y="558128"/>
                    <a:pt x="286595" y="557062"/>
                  </a:cubicBezTo>
                  <a:cubicBezTo>
                    <a:pt x="290989" y="555915"/>
                    <a:pt x="295124" y="554832"/>
                    <a:pt x="298484" y="552458"/>
                  </a:cubicBezTo>
                  <a:cubicBezTo>
                    <a:pt x="302555" y="549582"/>
                    <a:pt x="305140" y="545059"/>
                    <a:pt x="307870" y="540277"/>
                  </a:cubicBezTo>
                  <a:cubicBezTo>
                    <a:pt x="309808" y="536885"/>
                    <a:pt x="311811" y="533380"/>
                    <a:pt x="314445" y="530310"/>
                  </a:cubicBezTo>
                  <a:cubicBezTo>
                    <a:pt x="320244" y="523574"/>
                    <a:pt x="328967" y="519729"/>
                    <a:pt x="337157" y="520230"/>
                  </a:cubicBezTo>
                  <a:cubicBezTo>
                    <a:pt x="346236" y="520795"/>
                    <a:pt x="354523" y="526886"/>
                    <a:pt x="357302" y="535027"/>
                  </a:cubicBezTo>
                  <a:cubicBezTo>
                    <a:pt x="357560" y="535787"/>
                    <a:pt x="357786" y="536580"/>
                    <a:pt x="357996" y="537387"/>
                  </a:cubicBezTo>
                  <a:cubicBezTo>
                    <a:pt x="358497" y="539197"/>
                    <a:pt x="358966" y="540924"/>
                    <a:pt x="359967" y="541893"/>
                  </a:cubicBezTo>
                  <a:cubicBezTo>
                    <a:pt x="361728" y="543638"/>
                    <a:pt x="365040" y="543218"/>
                    <a:pt x="368561" y="542765"/>
                  </a:cubicBezTo>
                  <a:cubicBezTo>
                    <a:pt x="369611" y="542636"/>
                    <a:pt x="370661" y="542507"/>
                    <a:pt x="371663" y="542426"/>
                  </a:cubicBezTo>
                  <a:cubicBezTo>
                    <a:pt x="386088" y="541295"/>
                    <a:pt x="397784" y="552005"/>
                    <a:pt x="408301" y="563766"/>
                  </a:cubicBezTo>
                  <a:cubicBezTo>
                    <a:pt x="412856" y="568854"/>
                    <a:pt x="418009" y="574621"/>
                    <a:pt x="420820" y="581648"/>
                  </a:cubicBezTo>
                  <a:cubicBezTo>
                    <a:pt x="422193" y="585089"/>
                    <a:pt x="422936" y="588677"/>
                    <a:pt x="423663" y="592134"/>
                  </a:cubicBezTo>
                  <a:cubicBezTo>
                    <a:pt x="424035" y="593943"/>
                    <a:pt x="424422" y="595735"/>
                    <a:pt x="424875" y="597512"/>
                  </a:cubicBezTo>
                  <a:cubicBezTo>
                    <a:pt x="426878" y="605104"/>
                    <a:pt x="430642" y="612277"/>
                    <a:pt x="435795" y="618222"/>
                  </a:cubicBezTo>
                  <a:cubicBezTo>
                    <a:pt x="436425" y="618965"/>
                    <a:pt x="437087" y="619692"/>
                    <a:pt x="437766" y="620418"/>
                  </a:cubicBezTo>
                  <a:cubicBezTo>
                    <a:pt x="440819" y="623779"/>
                    <a:pt x="443985" y="627252"/>
                    <a:pt x="445310" y="631953"/>
                  </a:cubicBezTo>
                  <a:cubicBezTo>
                    <a:pt x="448282" y="642534"/>
                    <a:pt x="440189" y="652260"/>
                    <a:pt x="433840" y="658657"/>
                  </a:cubicBezTo>
                  <a:cubicBezTo>
                    <a:pt x="420917" y="671661"/>
                    <a:pt x="407040" y="683969"/>
                    <a:pt x="392566" y="695245"/>
                  </a:cubicBezTo>
                  <a:cubicBezTo>
                    <a:pt x="388883" y="698120"/>
                    <a:pt x="385216" y="700850"/>
                    <a:pt x="380935" y="702627"/>
                  </a:cubicBezTo>
                  <a:cubicBezTo>
                    <a:pt x="375911" y="704711"/>
                    <a:pt x="370403" y="705278"/>
                    <a:pt x="365556" y="705795"/>
                  </a:cubicBezTo>
                  <a:lnTo>
                    <a:pt x="290181" y="713612"/>
                  </a:lnTo>
                  <a:cubicBezTo>
                    <a:pt x="286692" y="713968"/>
                    <a:pt x="283105" y="714339"/>
                    <a:pt x="279503" y="714339"/>
                  </a:cubicBezTo>
                  <a:cubicBezTo>
                    <a:pt x="277241" y="714339"/>
                    <a:pt x="274980" y="714194"/>
                    <a:pt x="272686" y="713822"/>
                  </a:cubicBezTo>
                  <a:cubicBezTo>
                    <a:pt x="267872" y="713014"/>
                    <a:pt x="263397" y="711205"/>
                    <a:pt x="259068" y="709460"/>
                  </a:cubicBezTo>
                  <a:cubicBezTo>
                    <a:pt x="258131" y="709073"/>
                    <a:pt x="257178" y="708703"/>
                    <a:pt x="256241" y="708331"/>
                  </a:cubicBezTo>
                  <a:cubicBezTo>
                    <a:pt x="249424" y="705666"/>
                    <a:pt x="242316" y="703532"/>
                    <a:pt x="235144" y="701997"/>
                  </a:cubicBezTo>
                  <a:lnTo>
                    <a:pt x="233189" y="701593"/>
                  </a:lnTo>
                  <a:cubicBezTo>
                    <a:pt x="228730" y="700673"/>
                    <a:pt x="224126" y="699721"/>
                    <a:pt x="219910" y="697427"/>
                  </a:cubicBezTo>
                  <a:cubicBezTo>
                    <a:pt x="215549" y="695036"/>
                    <a:pt x="212059" y="691400"/>
                    <a:pt x="208990" y="688202"/>
                  </a:cubicBezTo>
                  <a:lnTo>
                    <a:pt x="190930" y="669367"/>
                  </a:lnTo>
                  <a:cubicBezTo>
                    <a:pt x="189993" y="668382"/>
                    <a:pt x="188700" y="667040"/>
                    <a:pt x="188119" y="665149"/>
                  </a:cubicBezTo>
                  <a:cubicBezTo>
                    <a:pt x="186681" y="660400"/>
                    <a:pt x="190606" y="656055"/>
                    <a:pt x="195049" y="654375"/>
                  </a:cubicBezTo>
                  <a:cubicBezTo>
                    <a:pt x="196018" y="654019"/>
                    <a:pt x="197020" y="653712"/>
                    <a:pt x="198021" y="653421"/>
                  </a:cubicBezTo>
                  <a:cubicBezTo>
                    <a:pt x="199992" y="652856"/>
                    <a:pt x="201866" y="652307"/>
                    <a:pt x="203029" y="651208"/>
                  </a:cubicBezTo>
                  <a:cubicBezTo>
                    <a:pt x="205113" y="649254"/>
                    <a:pt x="204854" y="645394"/>
                    <a:pt x="203401" y="642794"/>
                  </a:cubicBezTo>
                  <a:cubicBezTo>
                    <a:pt x="201575" y="639530"/>
                    <a:pt x="198086" y="637057"/>
                    <a:pt x="195016" y="634877"/>
                  </a:cubicBezTo>
                  <a:lnTo>
                    <a:pt x="174694" y="620451"/>
                  </a:lnTo>
                  <a:cubicBezTo>
                    <a:pt x="172885" y="624990"/>
                    <a:pt x="169234" y="628415"/>
                    <a:pt x="165680" y="631726"/>
                  </a:cubicBezTo>
                  <a:cubicBezTo>
                    <a:pt x="160721" y="636330"/>
                    <a:pt x="157765" y="639432"/>
                    <a:pt x="158411" y="643471"/>
                  </a:cubicBezTo>
                  <a:cubicBezTo>
                    <a:pt x="158670" y="645054"/>
                    <a:pt x="159590" y="646701"/>
                    <a:pt x="160479" y="648284"/>
                  </a:cubicBezTo>
                  <a:lnTo>
                    <a:pt x="183272" y="688977"/>
                  </a:lnTo>
                  <a:cubicBezTo>
                    <a:pt x="190574" y="702013"/>
                    <a:pt x="197020" y="717038"/>
                    <a:pt x="189459" y="729623"/>
                  </a:cubicBezTo>
                  <a:cubicBezTo>
                    <a:pt x="186358" y="734792"/>
                    <a:pt x="181285" y="738344"/>
                    <a:pt x="176795" y="741268"/>
                  </a:cubicBezTo>
                  <a:cubicBezTo>
                    <a:pt x="163403" y="749975"/>
                    <a:pt x="149074" y="757342"/>
                    <a:pt x="134212" y="763222"/>
                  </a:cubicBezTo>
                  <a:cubicBezTo>
                    <a:pt x="134584" y="764336"/>
                    <a:pt x="134907" y="765485"/>
                    <a:pt x="135165" y="766696"/>
                  </a:cubicBezTo>
                  <a:cubicBezTo>
                    <a:pt x="138654" y="783335"/>
                    <a:pt x="150544" y="799036"/>
                    <a:pt x="166553" y="796919"/>
                  </a:cubicBezTo>
                  <a:cubicBezTo>
                    <a:pt x="169057" y="796580"/>
                    <a:pt x="171528" y="795918"/>
                    <a:pt x="174161" y="795191"/>
                  </a:cubicBezTo>
                  <a:cubicBezTo>
                    <a:pt x="177618" y="794254"/>
                    <a:pt x="181188" y="793285"/>
                    <a:pt x="184969" y="793091"/>
                  </a:cubicBezTo>
                  <a:cubicBezTo>
                    <a:pt x="192545" y="792735"/>
                    <a:pt x="201107" y="796919"/>
                    <a:pt x="202302" y="804593"/>
                  </a:cubicBezTo>
                  <a:cubicBezTo>
                    <a:pt x="203029" y="809261"/>
                    <a:pt x="200848" y="813414"/>
                    <a:pt x="198910" y="817081"/>
                  </a:cubicBezTo>
                  <a:cubicBezTo>
                    <a:pt x="197230" y="820264"/>
                    <a:pt x="195630" y="823285"/>
                    <a:pt x="196180" y="826063"/>
                  </a:cubicBezTo>
                  <a:cubicBezTo>
                    <a:pt x="196664" y="828567"/>
                    <a:pt x="198813" y="830683"/>
                    <a:pt x="201090" y="832913"/>
                  </a:cubicBezTo>
                  <a:cubicBezTo>
                    <a:pt x="201753" y="833559"/>
                    <a:pt x="202399" y="834203"/>
                    <a:pt x="203029" y="834866"/>
                  </a:cubicBezTo>
                  <a:cubicBezTo>
                    <a:pt x="206987" y="839050"/>
                    <a:pt x="209475" y="845398"/>
                    <a:pt x="206066" y="850147"/>
                  </a:cubicBezTo>
                  <a:cubicBezTo>
                    <a:pt x="204289" y="852635"/>
                    <a:pt x="201204" y="854105"/>
                    <a:pt x="197375" y="854283"/>
                  </a:cubicBezTo>
                  <a:cubicBezTo>
                    <a:pt x="188619" y="854719"/>
                    <a:pt x="181447" y="849162"/>
                    <a:pt x="175098" y="844283"/>
                  </a:cubicBezTo>
                  <a:cubicBezTo>
                    <a:pt x="173887" y="843347"/>
                    <a:pt x="172675" y="842410"/>
                    <a:pt x="171464" y="841537"/>
                  </a:cubicBezTo>
                  <a:cubicBezTo>
                    <a:pt x="165810" y="837402"/>
                    <a:pt x="155487" y="833282"/>
                    <a:pt x="150205" y="838856"/>
                  </a:cubicBezTo>
                  <a:cubicBezTo>
                    <a:pt x="147507" y="841699"/>
                    <a:pt x="146958" y="846400"/>
                    <a:pt x="146635" y="850955"/>
                  </a:cubicBezTo>
                  <a:cubicBezTo>
                    <a:pt x="146279" y="855931"/>
                    <a:pt x="145843" y="862118"/>
                    <a:pt x="141934" y="866689"/>
                  </a:cubicBezTo>
                  <a:cubicBezTo>
                    <a:pt x="139462" y="869597"/>
                    <a:pt x="135359" y="871180"/>
                    <a:pt x="131466" y="870728"/>
                  </a:cubicBezTo>
                  <a:cubicBezTo>
                    <a:pt x="128380" y="870373"/>
                    <a:pt x="125860" y="868709"/>
                    <a:pt x="124552" y="866172"/>
                  </a:cubicBezTo>
                  <a:cubicBezTo>
                    <a:pt x="123421" y="863992"/>
                    <a:pt x="123405" y="861714"/>
                    <a:pt x="123373" y="859711"/>
                  </a:cubicBezTo>
                  <a:cubicBezTo>
                    <a:pt x="123373" y="858418"/>
                    <a:pt x="123340" y="857191"/>
                    <a:pt x="123033" y="856221"/>
                  </a:cubicBezTo>
                  <a:cubicBezTo>
                    <a:pt x="122613" y="854978"/>
                    <a:pt x="121741" y="854123"/>
                    <a:pt x="120352" y="853606"/>
                  </a:cubicBezTo>
                  <a:cubicBezTo>
                    <a:pt x="117492" y="852540"/>
                    <a:pt x="113050" y="853168"/>
                    <a:pt x="109771" y="855107"/>
                  </a:cubicBezTo>
                  <a:cubicBezTo>
                    <a:pt x="108301" y="855979"/>
                    <a:pt x="106847" y="856997"/>
                    <a:pt x="105328" y="858079"/>
                  </a:cubicBezTo>
                  <a:cubicBezTo>
                    <a:pt x="100870" y="861213"/>
                    <a:pt x="96266" y="864460"/>
                    <a:pt x="90402" y="864492"/>
                  </a:cubicBezTo>
                  <a:cubicBezTo>
                    <a:pt x="88237" y="864525"/>
                    <a:pt x="86089" y="864024"/>
                    <a:pt x="84102" y="863555"/>
                  </a:cubicBezTo>
                  <a:cubicBezTo>
                    <a:pt x="82648" y="863216"/>
                    <a:pt x="81291" y="862895"/>
                    <a:pt x="79966" y="862798"/>
                  </a:cubicBezTo>
                  <a:cubicBezTo>
                    <a:pt x="72487" y="862265"/>
                    <a:pt x="65961" y="869356"/>
                    <a:pt x="64571" y="876335"/>
                  </a:cubicBezTo>
                  <a:cubicBezTo>
                    <a:pt x="62827" y="885010"/>
                    <a:pt x="66687" y="893731"/>
                    <a:pt x="70241" y="899531"/>
                  </a:cubicBezTo>
                  <a:cubicBezTo>
                    <a:pt x="70726" y="900322"/>
                    <a:pt x="71227" y="901099"/>
                    <a:pt x="71728" y="901875"/>
                  </a:cubicBezTo>
                  <a:cubicBezTo>
                    <a:pt x="73408" y="904508"/>
                    <a:pt x="75152" y="907220"/>
                    <a:pt x="76315" y="910322"/>
                  </a:cubicBezTo>
                  <a:cubicBezTo>
                    <a:pt x="78852" y="917155"/>
                    <a:pt x="78109" y="924943"/>
                    <a:pt x="74312" y="931162"/>
                  </a:cubicBezTo>
                  <a:cubicBezTo>
                    <a:pt x="73747" y="932099"/>
                    <a:pt x="72681" y="932631"/>
                    <a:pt x="71614" y="932550"/>
                  </a:cubicBezTo>
                  <a:cubicBezTo>
                    <a:pt x="64523" y="931985"/>
                    <a:pt x="55945" y="932049"/>
                    <a:pt x="52553" y="937493"/>
                  </a:cubicBezTo>
                  <a:cubicBezTo>
                    <a:pt x="51050" y="939900"/>
                    <a:pt x="51276" y="942503"/>
                    <a:pt x="51729" y="944280"/>
                  </a:cubicBezTo>
                  <a:cubicBezTo>
                    <a:pt x="52585" y="947640"/>
                    <a:pt x="54959" y="950756"/>
                    <a:pt x="57932" y="952420"/>
                  </a:cubicBezTo>
                  <a:cubicBezTo>
                    <a:pt x="63667" y="955651"/>
                    <a:pt x="74458" y="955909"/>
                    <a:pt x="81162" y="954326"/>
                  </a:cubicBezTo>
                  <a:cubicBezTo>
                    <a:pt x="81969" y="954132"/>
                    <a:pt x="82826" y="954295"/>
                    <a:pt x="83504" y="954780"/>
                  </a:cubicBezTo>
                  <a:cubicBezTo>
                    <a:pt x="84182" y="955264"/>
                    <a:pt x="84619" y="956006"/>
                    <a:pt x="84716" y="956846"/>
                  </a:cubicBezTo>
                  <a:cubicBezTo>
                    <a:pt x="85039" y="959786"/>
                    <a:pt x="85394" y="963132"/>
                    <a:pt x="87058" y="965393"/>
                  </a:cubicBezTo>
                  <a:cubicBezTo>
                    <a:pt x="87817" y="966411"/>
                    <a:pt x="89093" y="967201"/>
                    <a:pt x="90305" y="967379"/>
                  </a:cubicBezTo>
                  <a:cubicBezTo>
                    <a:pt x="91048" y="967492"/>
                    <a:pt x="91662" y="967380"/>
                    <a:pt x="92130" y="967009"/>
                  </a:cubicBezTo>
                  <a:cubicBezTo>
                    <a:pt x="93035" y="966330"/>
                    <a:pt x="93552" y="964810"/>
                    <a:pt x="94101" y="963227"/>
                  </a:cubicBezTo>
                  <a:lnTo>
                    <a:pt x="94408" y="962340"/>
                  </a:lnTo>
                  <a:cubicBezTo>
                    <a:pt x="97930" y="952454"/>
                    <a:pt x="105781" y="945247"/>
                    <a:pt x="112711" y="938883"/>
                  </a:cubicBezTo>
                  <a:cubicBezTo>
                    <a:pt x="116087" y="935781"/>
                    <a:pt x="119899" y="932276"/>
                    <a:pt x="124665" y="930288"/>
                  </a:cubicBezTo>
                  <a:cubicBezTo>
                    <a:pt x="128316" y="928770"/>
                    <a:pt x="132128" y="928287"/>
                    <a:pt x="135811" y="927819"/>
                  </a:cubicBezTo>
                  <a:cubicBezTo>
                    <a:pt x="138412" y="927495"/>
                    <a:pt x="140868" y="927172"/>
                    <a:pt x="143194" y="926526"/>
                  </a:cubicBezTo>
                  <a:cubicBezTo>
                    <a:pt x="147006" y="925460"/>
                    <a:pt x="150528" y="923488"/>
                    <a:pt x="154259" y="921404"/>
                  </a:cubicBezTo>
                  <a:cubicBezTo>
                    <a:pt x="158443" y="919061"/>
                    <a:pt x="162757" y="916640"/>
                    <a:pt x="167667" y="915493"/>
                  </a:cubicBezTo>
                  <a:cubicBezTo>
                    <a:pt x="173984" y="914007"/>
                    <a:pt x="181705" y="916315"/>
                    <a:pt x="186051" y="921000"/>
                  </a:cubicBezTo>
                  <a:cubicBezTo>
                    <a:pt x="189120" y="924311"/>
                    <a:pt x="190106" y="928318"/>
                    <a:pt x="188829" y="932308"/>
                  </a:cubicBezTo>
                  <a:cubicBezTo>
                    <a:pt x="186503" y="939593"/>
                    <a:pt x="179088" y="941323"/>
                    <a:pt x="172562" y="942858"/>
                  </a:cubicBezTo>
                  <a:cubicBezTo>
                    <a:pt x="169493" y="943569"/>
                    <a:pt x="166327" y="944310"/>
                    <a:pt x="163839" y="945554"/>
                  </a:cubicBezTo>
                  <a:cubicBezTo>
                    <a:pt x="161836" y="946556"/>
                    <a:pt x="160043" y="948044"/>
                    <a:pt x="158136" y="949627"/>
                  </a:cubicBezTo>
                  <a:cubicBezTo>
                    <a:pt x="157086" y="950483"/>
                    <a:pt x="156036" y="951355"/>
                    <a:pt x="154954" y="952147"/>
                  </a:cubicBezTo>
                  <a:cubicBezTo>
                    <a:pt x="150706" y="955264"/>
                    <a:pt x="145940" y="957347"/>
                    <a:pt x="141336" y="959366"/>
                  </a:cubicBezTo>
                  <a:cubicBezTo>
                    <a:pt x="138703" y="960513"/>
                    <a:pt x="135973" y="961710"/>
                    <a:pt x="133469" y="963067"/>
                  </a:cubicBezTo>
                  <a:cubicBezTo>
                    <a:pt x="129867" y="964989"/>
                    <a:pt x="121402" y="970351"/>
                    <a:pt x="120659" y="978460"/>
                  </a:cubicBezTo>
                  <a:cubicBezTo>
                    <a:pt x="120433" y="981013"/>
                    <a:pt x="120966" y="983694"/>
                    <a:pt x="121531" y="986537"/>
                  </a:cubicBezTo>
                  <a:cubicBezTo>
                    <a:pt x="122323" y="990479"/>
                    <a:pt x="123130" y="994568"/>
                    <a:pt x="122016" y="998800"/>
                  </a:cubicBezTo>
                  <a:cubicBezTo>
                    <a:pt x="121450" y="1000932"/>
                    <a:pt x="120481" y="1002772"/>
                    <a:pt x="119528" y="1004533"/>
                  </a:cubicBezTo>
                  <a:cubicBezTo>
                    <a:pt x="119092" y="1005357"/>
                    <a:pt x="118656" y="1006165"/>
                    <a:pt x="118268" y="1007021"/>
                  </a:cubicBezTo>
                  <a:cubicBezTo>
                    <a:pt x="114698" y="1014888"/>
                    <a:pt x="116927" y="1025067"/>
                    <a:pt x="123486" y="1030721"/>
                  </a:cubicBezTo>
                  <a:cubicBezTo>
                    <a:pt x="130028" y="1036359"/>
                    <a:pt x="140431" y="1037084"/>
                    <a:pt x="147685" y="1032383"/>
                  </a:cubicBezTo>
                  <a:cubicBezTo>
                    <a:pt x="148929" y="1031575"/>
                    <a:pt x="150124" y="1030624"/>
                    <a:pt x="151368" y="1029606"/>
                  </a:cubicBezTo>
                  <a:cubicBezTo>
                    <a:pt x="153936" y="1027538"/>
                    <a:pt x="156586" y="1025404"/>
                    <a:pt x="160010" y="1024322"/>
                  </a:cubicBezTo>
                  <a:cubicBezTo>
                    <a:pt x="163613" y="1023175"/>
                    <a:pt x="167247" y="1023468"/>
                    <a:pt x="170753" y="1023742"/>
                  </a:cubicBezTo>
                  <a:cubicBezTo>
                    <a:pt x="174226" y="1024017"/>
                    <a:pt x="177505" y="1024274"/>
                    <a:pt x="180155" y="1023014"/>
                  </a:cubicBezTo>
                  <a:cubicBezTo>
                    <a:pt x="182465" y="1021915"/>
                    <a:pt x="184274" y="1019670"/>
                    <a:pt x="186164" y="1017295"/>
                  </a:cubicBezTo>
                  <a:lnTo>
                    <a:pt x="187182" y="1016053"/>
                  </a:lnTo>
                  <a:cubicBezTo>
                    <a:pt x="194871" y="1006683"/>
                    <a:pt x="204241" y="1002126"/>
                    <a:pt x="212883" y="1003564"/>
                  </a:cubicBezTo>
                  <a:cubicBezTo>
                    <a:pt x="218715" y="1004533"/>
                    <a:pt x="223997" y="1009543"/>
                    <a:pt x="225742" y="1015762"/>
                  </a:cubicBezTo>
                  <a:cubicBezTo>
                    <a:pt x="227147" y="1020754"/>
                    <a:pt x="225871" y="1025551"/>
                    <a:pt x="222366" y="1028572"/>
                  </a:cubicBezTo>
                  <a:cubicBezTo>
                    <a:pt x="220266" y="1030382"/>
                    <a:pt x="217729" y="1031302"/>
                    <a:pt x="215500" y="1032126"/>
                  </a:cubicBezTo>
                  <a:cubicBezTo>
                    <a:pt x="214353" y="1032546"/>
                    <a:pt x="213271" y="1032950"/>
                    <a:pt x="212285" y="1033435"/>
                  </a:cubicBezTo>
                  <a:cubicBezTo>
                    <a:pt x="210250" y="1034436"/>
                    <a:pt x="208424" y="1036632"/>
                    <a:pt x="208990" y="1038053"/>
                  </a:cubicBezTo>
                  <a:cubicBezTo>
                    <a:pt x="209410" y="1039103"/>
                    <a:pt x="211009" y="1039846"/>
                    <a:pt x="212705" y="1040622"/>
                  </a:cubicBezTo>
                  <a:cubicBezTo>
                    <a:pt x="213448" y="1040961"/>
                    <a:pt x="214192" y="1041316"/>
                    <a:pt x="214886" y="1041688"/>
                  </a:cubicBezTo>
                  <a:cubicBezTo>
                    <a:pt x="220217" y="1044612"/>
                    <a:pt x="223286" y="1050670"/>
                    <a:pt x="222172" y="1056065"/>
                  </a:cubicBezTo>
                  <a:cubicBezTo>
                    <a:pt x="221526" y="1059231"/>
                    <a:pt x="219296" y="1062058"/>
                    <a:pt x="216227" y="1063593"/>
                  </a:cubicBezTo>
                  <a:cubicBezTo>
                    <a:pt x="213448" y="1064982"/>
                    <a:pt x="210395" y="1065095"/>
                    <a:pt x="207811" y="1063900"/>
                  </a:cubicBezTo>
                  <a:cubicBezTo>
                    <a:pt x="206017" y="1063060"/>
                    <a:pt x="204693" y="1061768"/>
                    <a:pt x="203530" y="1060637"/>
                  </a:cubicBezTo>
                  <a:cubicBezTo>
                    <a:pt x="202916" y="1060023"/>
                    <a:pt x="202334" y="1059458"/>
                    <a:pt x="201737" y="1059021"/>
                  </a:cubicBezTo>
                  <a:cubicBezTo>
                    <a:pt x="199750" y="1057535"/>
                    <a:pt x="196906" y="1057180"/>
                    <a:pt x="194532" y="1057987"/>
                  </a:cubicBezTo>
                  <a:cubicBezTo>
                    <a:pt x="194596" y="1059425"/>
                    <a:pt x="194290" y="1060897"/>
                    <a:pt x="193595" y="1062318"/>
                  </a:cubicBezTo>
                  <a:cubicBezTo>
                    <a:pt x="192222" y="1065097"/>
                    <a:pt x="189524" y="1067310"/>
                    <a:pt x="186552" y="1068069"/>
                  </a:cubicBezTo>
                  <a:cubicBezTo>
                    <a:pt x="181802" y="1069281"/>
                    <a:pt x="177166" y="1067666"/>
                    <a:pt x="173257" y="1065937"/>
                  </a:cubicBezTo>
                  <a:cubicBezTo>
                    <a:pt x="167037" y="1063175"/>
                    <a:pt x="161173" y="1059651"/>
                    <a:pt x="155810" y="1055467"/>
                  </a:cubicBezTo>
                  <a:cubicBezTo>
                    <a:pt x="148008" y="1049394"/>
                    <a:pt x="143000" y="1047747"/>
                    <a:pt x="140092" y="1050284"/>
                  </a:cubicBezTo>
                  <a:cubicBezTo>
                    <a:pt x="139107" y="1051140"/>
                    <a:pt x="138606" y="1052269"/>
                    <a:pt x="138541" y="1053755"/>
                  </a:cubicBezTo>
                  <a:cubicBezTo>
                    <a:pt x="138412" y="1056663"/>
                    <a:pt x="140060" y="1060428"/>
                    <a:pt x="142628" y="1063110"/>
                  </a:cubicBezTo>
                  <a:cubicBezTo>
                    <a:pt x="143791" y="1064322"/>
                    <a:pt x="145068" y="1065452"/>
                    <a:pt x="146409" y="1066664"/>
                  </a:cubicBezTo>
                  <a:cubicBezTo>
                    <a:pt x="150172" y="1070040"/>
                    <a:pt x="154066" y="1073512"/>
                    <a:pt x="155681" y="1078713"/>
                  </a:cubicBezTo>
                  <a:cubicBezTo>
                    <a:pt x="156747" y="1082154"/>
                    <a:pt x="156569" y="1085595"/>
                    <a:pt x="156392" y="1088923"/>
                  </a:cubicBezTo>
                  <a:cubicBezTo>
                    <a:pt x="156214" y="1092186"/>
                    <a:pt x="156053" y="1095255"/>
                    <a:pt x="157151" y="1097824"/>
                  </a:cubicBezTo>
                  <a:cubicBezTo>
                    <a:pt x="159009" y="1102169"/>
                    <a:pt x="163726" y="1104124"/>
                    <a:pt x="169186" y="1106369"/>
                  </a:cubicBezTo>
                  <a:cubicBezTo>
                    <a:pt x="173774" y="1108259"/>
                    <a:pt x="178523" y="1110214"/>
                    <a:pt x="182061" y="1113930"/>
                  </a:cubicBezTo>
                  <a:cubicBezTo>
                    <a:pt x="183579" y="1115529"/>
                    <a:pt x="184710" y="1117290"/>
                    <a:pt x="185825" y="1119002"/>
                  </a:cubicBezTo>
                  <a:cubicBezTo>
                    <a:pt x="186713" y="1120375"/>
                    <a:pt x="187553" y="1121685"/>
                    <a:pt x="188522" y="1122800"/>
                  </a:cubicBezTo>
                  <a:cubicBezTo>
                    <a:pt x="195469" y="1130796"/>
                    <a:pt x="209749" y="1128874"/>
                    <a:pt x="218715" y="1122073"/>
                  </a:cubicBezTo>
                  <a:cubicBezTo>
                    <a:pt x="224950" y="1117340"/>
                    <a:pt x="229651" y="1111056"/>
                    <a:pt x="234627" y="1104416"/>
                  </a:cubicBezTo>
                  <a:cubicBezTo>
                    <a:pt x="237211" y="1100959"/>
                    <a:pt x="239877" y="1097388"/>
                    <a:pt x="242784" y="1094076"/>
                  </a:cubicBezTo>
                  <a:cubicBezTo>
                    <a:pt x="246031" y="1090344"/>
                    <a:pt x="251637" y="1086629"/>
                    <a:pt x="256709" y="1086790"/>
                  </a:cubicBezTo>
                  <a:cubicBezTo>
                    <a:pt x="259472" y="1086871"/>
                    <a:pt x="261830" y="1088036"/>
                    <a:pt x="263494" y="1090184"/>
                  </a:cubicBezTo>
                  <a:cubicBezTo>
                    <a:pt x="268066" y="1096032"/>
                    <a:pt x="263365" y="1103882"/>
                    <a:pt x="261814" y="1106466"/>
                  </a:cubicBezTo>
                  <a:lnTo>
                    <a:pt x="243835" y="1136465"/>
                  </a:lnTo>
                  <a:cubicBezTo>
                    <a:pt x="243398" y="1137208"/>
                    <a:pt x="242946" y="1137935"/>
                    <a:pt x="242478" y="1138662"/>
                  </a:cubicBezTo>
                  <a:cubicBezTo>
                    <a:pt x="276999" y="1145592"/>
                    <a:pt x="312312" y="1149131"/>
                    <a:pt x="347528" y="1149131"/>
                  </a:cubicBezTo>
                  <a:cubicBezTo>
                    <a:pt x="347819" y="1149131"/>
                    <a:pt x="348094" y="1149131"/>
                    <a:pt x="348368" y="1149131"/>
                  </a:cubicBezTo>
                  <a:lnTo>
                    <a:pt x="348368" y="114898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2" name="Free-form: Shape 371">
              <a:extLst>
                <a:ext uri="{FF2B5EF4-FFF2-40B4-BE49-F238E27FC236}">
                  <a16:creationId xmlns:a16="http://schemas.microsoft.com/office/drawing/2014/main" id="{C78BC889-9758-23B2-748D-BC50E74EBB2E}"/>
                </a:ext>
              </a:extLst>
            </p:cNvPr>
            <p:cNvSpPr/>
            <p:nvPr/>
          </p:nvSpPr>
          <p:spPr>
            <a:xfrm>
              <a:off x="5135510" y="4768228"/>
              <a:ext cx="24007" cy="28962"/>
            </a:xfrm>
            <a:custGeom>
              <a:avLst/>
              <a:gdLst>
                <a:gd name="connsiteX0" fmla="*/ 13028 w 24007"/>
                <a:gd name="connsiteY0" fmla="*/ 28706 h 28962"/>
                <a:gd name="connsiteX1" fmla="*/ 23222 w 24007"/>
                <a:gd name="connsiteY1" fmla="*/ 24845 h 28962"/>
                <a:gd name="connsiteX2" fmla="*/ 23933 w 24007"/>
                <a:gd name="connsiteY2" fmla="*/ 19288 h 28962"/>
                <a:gd name="connsiteX3" fmla="*/ 11752 w 24007"/>
                <a:gd name="connsiteY3" fmla="*/ 2746 h 28962"/>
                <a:gd name="connsiteX4" fmla="*/ 11252 w 24007"/>
                <a:gd name="connsiteY4" fmla="*/ 2455 h 28962"/>
                <a:gd name="connsiteX5" fmla="*/ 5937 w 24007"/>
                <a:gd name="connsiteY5" fmla="*/ 0 h 28962"/>
                <a:gd name="connsiteX6" fmla="*/ 5129 w 24007"/>
                <a:gd name="connsiteY6" fmla="*/ 242 h 28962"/>
                <a:gd name="connsiteX7" fmla="*/ 4451 w 24007"/>
                <a:gd name="connsiteY7" fmla="*/ 4749 h 28962"/>
                <a:gd name="connsiteX8" fmla="*/ 3934 w 24007"/>
                <a:gd name="connsiteY8" fmla="*/ 10904 h 28962"/>
                <a:gd name="connsiteX9" fmla="*/ 1608 w 24007"/>
                <a:gd name="connsiteY9" fmla="*/ 15153 h 28962"/>
                <a:gd name="connsiteX10" fmla="*/ 8 w 24007"/>
                <a:gd name="connsiteY10" fmla="*/ 18513 h 28962"/>
                <a:gd name="connsiteX11" fmla="*/ 1672 w 24007"/>
                <a:gd name="connsiteY11" fmla="*/ 21049 h 28962"/>
                <a:gd name="connsiteX12" fmla="*/ 13028 w 24007"/>
                <a:gd name="connsiteY12" fmla="*/ 28706 h 2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07" h="28962">
                  <a:moveTo>
                    <a:pt x="13028" y="28706"/>
                  </a:moveTo>
                  <a:cubicBezTo>
                    <a:pt x="16712" y="29546"/>
                    <a:pt x="21526" y="28334"/>
                    <a:pt x="23222" y="24845"/>
                  </a:cubicBezTo>
                  <a:cubicBezTo>
                    <a:pt x="23916" y="23440"/>
                    <a:pt x="24143" y="21566"/>
                    <a:pt x="23933" y="19288"/>
                  </a:cubicBezTo>
                  <a:cubicBezTo>
                    <a:pt x="23238" y="12099"/>
                    <a:pt x="18569" y="5767"/>
                    <a:pt x="11752" y="2746"/>
                  </a:cubicBezTo>
                  <a:cubicBezTo>
                    <a:pt x="11575" y="2665"/>
                    <a:pt x="11397" y="2568"/>
                    <a:pt x="11252" y="2455"/>
                  </a:cubicBezTo>
                  <a:cubicBezTo>
                    <a:pt x="8683" y="630"/>
                    <a:pt x="6938" y="0"/>
                    <a:pt x="5937" y="0"/>
                  </a:cubicBezTo>
                  <a:cubicBezTo>
                    <a:pt x="5565" y="0"/>
                    <a:pt x="5291" y="81"/>
                    <a:pt x="5129" y="242"/>
                  </a:cubicBezTo>
                  <a:cubicBezTo>
                    <a:pt x="4354" y="921"/>
                    <a:pt x="4354" y="2391"/>
                    <a:pt x="4451" y="4749"/>
                  </a:cubicBezTo>
                  <a:cubicBezTo>
                    <a:pt x="4531" y="6656"/>
                    <a:pt x="4612" y="8820"/>
                    <a:pt x="3934" y="10904"/>
                  </a:cubicBezTo>
                  <a:cubicBezTo>
                    <a:pt x="3401" y="12552"/>
                    <a:pt x="2448" y="13925"/>
                    <a:pt x="1608" y="15153"/>
                  </a:cubicBezTo>
                  <a:cubicBezTo>
                    <a:pt x="687" y="16477"/>
                    <a:pt x="-89" y="17624"/>
                    <a:pt x="8" y="18513"/>
                  </a:cubicBezTo>
                  <a:cubicBezTo>
                    <a:pt x="89" y="19256"/>
                    <a:pt x="864" y="20177"/>
                    <a:pt x="1672" y="21049"/>
                  </a:cubicBezTo>
                  <a:cubicBezTo>
                    <a:pt x="5743" y="25443"/>
                    <a:pt x="9345" y="27866"/>
                    <a:pt x="13028" y="2870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3" name="Free-form: Shape 372">
              <a:extLst>
                <a:ext uri="{FF2B5EF4-FFF2-40B4-BE49-F238E27FC236}">
                  <a16:creationId xmlns:a16="http://schemas.microsoft.com/office/drawing/2014/main" id="{9042D168-AF85-9CCD-F042-6D810A0AEAC5}"/>
                </a:ext>
              </a:extLst>
            </p:cNvPr>
            <p:cNvSpPr/>
            <p:nvPr/>
          </p:nvSpPr>
          <p:spPr>
            <a:xfrm>
              <a:off x="5461833" y="3662909"/>
              <a:ext cx="24034" cy="22053"/>
            </a:xfrm>
            <a:custGeom>
              <a:avLst/>
              <a:gdLst>
                <a:gd name="connsiteX0" fmla="*/ 9773 w 24034"/>
                <a:gd name="connsiteY0" fmla="*/ 5815 h 22053"/>
                <a:gd name="connsiteX1" fmla="*/ 2068 w 24034"/>
                <a:gd name="connsiteY1" fmla="*/ 10726 h 22053"/>
                <a:gd name="connsiteX2" fmla="*/ 307 w 24034"/>
                <a:gd name="connsiteY2" fmla="*/ 17107 h 22053"/>
                <a:gd name="connsiteX3" fmla="*/ 3263 w 24034"/>
                <a:gd name="connsiteY3" fmla="*/ 20128 h 22053"/>
                <a:gd name="connsiteX4" fmla="*/ 21227 w 24034"/>
                <a:gd name="connsiteY4" fmla="*/ 17543 h 22053"/>
                <a:gd name="connsiteX5" fmla="*/ 21921 w 24034"/>
                <a:gd name="connsiteY5" fmla="*/ 0 h 22053"/>
                <a:gd name="connsiteX6" fmla="*/ 9789 w 24034"/>
                <a:gd name="connsiteY6" fmla="*/ 5832 h 22053"/>
                <a:gd name="connsiteX7" fmla="*/ 9773 w 24034"/>
                <a:gd name="connsiteY7" fmla="*/ 5815 h 2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34" h="22053">
                  <a:moveTo>
                    <a:pt x="9773" y="5815"/>
                  </a:moveTo>
                  <a:cubicBezTo>
                    <a:pt x="6962" y="7172"/>
                    <a:pt x="4039" y="8562"/>
                    <a:pt x="2068" y="10726"/>
                  </a:cubicBezTo>
                  <a:cubicBezTo>
                    <a:pt x="598" y="12326"/>
                    <a:pt x="-582" y="15007"/>
                    <a:pt x="307" y="17107"/>
                  </a:cubicBezTo>
                  <a:cubicBezTo>
                    <a:pt x="872" y="18464"/>
                    <a:pt x="2229" y="19498"/>
                    <a:pt x="3263" y="20128"/>
                  </a:cubicBezTo>
                  <a:cubicBezTo>
                    <a:pt x="8804" y="23488"/>
                    <a:pt x="16849" y="22341"/>
                    <a:pt x="21227" y="17543"/>
                  </a:cubicBezTo>
                  <a:cubicBezTo>
                    <a:pt x="25039" y="13359"/>
                    <a:pt x="24668" y="5347"/>
                    <a:pt x="21921" y="0"/>
                  </a:cubicBezTo>
                  <a:lnTo>
                    <a:pt x="9789" y="5832"/>
                  </a:lnTo>
                  <a:lnTo>
                    <a:pt x="9773" y="581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4" name="Free-form: Shape 373">
              <a:extLst>
                <a:ext uri="{FF2B5EF4-FFF2-40B4-BE49-F238E27FC236}">
                  <a16:creationId xmlns:a16="http://schemas.microsoft.com/office/drawing/2014/main" id="{04C12734-F276-E5D7-D9C9-2418D163306B}"/>
                </a:ext>
              </a:extLst>
            </p:cNvPr>
            <p:cNvSpPr/>
            <p:nvPr/>
          </p:nvSpPr>
          <p:spPr>
            <a:xfrm>
              <a:off x="6016165" y="1558404"/>
              <a:ext cx="1481841" cy="1384764"/>
            </a:xfrm>
            <a:custGeom>
              <a:avLst/>
              <a:gdLst>
                <a:gd name="connsiteX0" fmla="*/ 11163 w 1481841"/>
                <a:gd name="connsiteY0" fmla="*/ 245366 h 1384764"/>
                <a:gd name="connsiteX1" fmla="*/ 14587 w 1481841"/>
                <a:gd name="connsiteY1" fmla="*/ 265090 h 1384764"/>
                <a:gd name="connsiteX2" fmla="*/ 12471 w 1481841"/>
                <a:gd name="connsiteY2" fmla="*/ 323617 h 1384764"/>
                <a:gd name="connsiteX3" fmla="*/ 13634 w 1481841"/>
                <a:gd name="connsiteY3" fmla="*/ 330967 h 1384764"/>
                <a:gd name="connsiteX4" fmla="*/ 19175 w 1481841"/>
                <a:gd name="connsiteY4" fmla="*/ 333536 h 1384764"/>
                <a:gd name="connsiteX5" fmla="*/ 46524 w 1481841"/>
                <a:gd name="connsiteY5" fmla="*/ 319045 h 1384764"/>
                <a:gd name="connsiteX6" fmla="*/ 52049 w 1481841"/>
                <a:gd name="connsiteY6" fmla="*/ 314134 h 1384764"/>
                <a:gd name="connsiteX7" fmla="*/ 80868 w 1481841"/>
                <a:gd name="connsiteY7" fmla="*/ 305137 h 1384764"/>
                <a:gd name="connsiteX8" fmla="*/ 92612 w 1481841"/>
                <a:gd name="connsiteY8" fmla="*/ 313892 h 1384764"/>
                <a:gd name="connsiteX9" fmla="*/ 87863 w 1481841"/>
                <a:gd name="connsiteY9" fmla="*/ 337817 h 1384764"/>
                <a:gd name="connsiteX10" fmla="*/ 76345 w 1481841"/>
                <a:gd name="connsiteY10" fmla="*/ 347913 h 1384764"/>
                <a:gd name="connsiteX11" fmla="*/ 70384 w 1481841"/>
                <a:gd name="connsiteY11" fmla="*/ 352598 h 1384764"/>
                <a:gd name="connsiteX12" fmla="*/ 67121 w 1481841"/>
                <a:gd name="connsiteY12" fmla="*/ 357250 h 1384764"/>
                <a:gd name="connsiteX13" fmla="*/ 73243 w 1481841"/>
                <a:gd name="connsiteY13" fmla="*/ 362775 h 1384764"/>
                <a:gd name="connsiteX14" fmla="*/ 105713 w 1481841"/>
                <a:gd name="connsiteY14" fmla="*/ 376780 h 1384764"/>
                <a:gd name="connsiteX15" fmla="*/ 113564 w 1481841"/>
                <a:gd name="connsiteY15" fmla="*/ 378541 h 1384764"/>
                <a:gd name="connsiteX16" fmla="*/ 119590 w 1481841"/>
                <a:gd name="connsiteY16" fmla="*/ 375359 h 1384764"/>
                <a:gd name="connsiteX17" fmla="*/ 122933 w 1481841"/>
                <a:gd name="connsiteY17" fmla="*/ 373113 h 1384764"/>
                <a:gd name="connsiteX18" fmla="*/ 150444 w 1481841"/>
                <a:gd name="connsiteY18" fmla="*/ 376538 h 1384764"/>
                <a:gd name="connsiteX19" fmla="*/ 153982 w 1481841"/>
                <a:gd name="connsiteY19" fmla="*/ 380480 h 1384764"/>
                <a:gd name="connsiteX20" fmla="*/ 163141 w 1481841"/>
                <a:gd name="connsiteY20" fmla="*/ 386828 h 1384764"/>
                <a:gd name="connsiteX21" fmla="*/ 167148 w 1481841"/>
                <a:gd name="connsiteY21" fmla="*/ 384583 h 1384764"/>
                <a:gd name="connsiteX22" fmla="*/ 171332 w 1481841"/>
                <a:gd name="connsiteY22" fmla="*/ 381966 h 1384764"/>
                <a:gd name="connsiteX23" fmla="*/ 182462 w 1481841"/>
                <a:gd name="connsiteY23" fmla="*/ 382548 h 1384764"/>
                <a:gd name="connsiteX24" fmla="*/ 192461 w 1481841"/>
                <a:gd name="connsiteY24" fmla="*/ 395988 h 1384764"/>
                <a:gd name="connsiteX25" fmla="*/ 191767 w 1481841"/>
                <a:gd name="connsiteY25" fmla="*/ 413612 h 1384764"/>
                <a:gd name="connsiteX26" fmla="*/ 190765 w 1481841"/>
                <a:gd name="connsiteY26" fmla="*/ 420623 h 1384764"/>
                <a:gd name="connsiteX27" fmla="*/ 220392 w 1481841"/>
                <a:gd name="connsiteY27" fmla="*/ 471557 h 1384764"/>
                <a:gd name="connsiteX28" fmla="*/ 222960 w 1481841"/>
                <a:gd name="connsiteY28" fmla="*/ 472656 h 1384764"/>
                <a:gd name="connsiteX29" fmla="*/ 232895 w 1481841"/>
                <a:gd name="connsiteY29" fmla="*/ 478294 h 1384764"/>
                <a:gd name="connsiteX30" fmla="*/ 239890 w 1481841"/>
                <a:gd name="connsiteY30" fmla="*/ 489601 h 1384764"/>
                <a:gd name="connsiteX31" fmla="*/ 245754 w 1481841"/>
                <a:gd name="connsiteY31" fmla="*/ 499181 h 1384764"/>
                <a:gd name="connsiteX32" fmla="*/ 264396 w 1481841"/>
                <a:gd name="connsiteY32" fmla="*/ 503106 h 1384764"/>
                <a:gd name="connsiteX33" fmla="*/ 287739 w 1481841"/>
                <a:gd name="connsiteY33" fmla="*/ 509956 h 1384764"/>
                <a:gd name="connsiteX34" fmla="*/ 288304 w 1481841"/>
                <a:gd name="connsiteY34" fmla="*/ 510990 h 1384764"/>
                <a:gd name="connsiteX35" fmla="*/ 250083 w 1481841"/>
                <a:gd name="connsiteY35" fmla="*/ 611647 h 1384764"/>
                <a:gd name="connsiteX36" fmla="*/ 244171 w 1481841"/>
                <a:gd name="connsiteY36" fmla="*/ 616864 h 1384764"/>
                <a:gd name="connsiteX37" fmla="*/ 218970 w 1481841"/>
                <a:gd name="connsiteY37" fmla="*/ 648042 h 1384764"/>
                <a:gd name="connsiteX38" fmla="*/ 217226 w 1481841"/>
                <a:gd name="connsiteY38" fmla="*/ 655279 h 1384764"/>
                <a:gd name="connsiteX39" fmla="*/ 211248 w 1481841"/>
                <a:gd name="connsiteY39" fmla="*/ 671304 h 1384764"/>
                <a:gd name="connsiteX40" fmla="*/ 207905 w 1481841"/>
                <a:gd name="connsiteY40" fmla="*/ 675003 h 1384764"/>
                <a:gd name="connsiteX41" fmla="*/ 204496 w 1481841"/>
                <a:gd name="connsiteY41" fmla="*/ 678929 h 1384764"/>
                <a:gd name="connsiteX42" fmla="*/ 205530 w 1481841"/>
                <a:gd name="connsiteY42" fmla="*/ 701012 h 1384764"/>
                <a:gd name="connsiteX43" fmla="*/ 207743 w 1481841"/>
                <a:gd name="connsiteY43" fmla="*/ 708830 h 1384764"/>
                <a:gd name="connsiteX44" fmla="*/ 207775 w 1481841"/>
                <a:gd name="connsiteY44" fmla="*/ 740589 h 1384764"/>
                <a:gd name="connsiteX45" fmla="*/ 206418 w 1481841"/>
                <a:gd name="connsiteY45" fmla="*/ 759409 h 1384764"/>
                <a:gd name="connsiteX46" fmla="*/ 217258 w 1481841"/>
                <a:gd name="connsiteY46" fmla="*/ 786839 h 1384764"/>
                <a:gd name="connsiteX47" fmla="*/ 230682 w 1481841"/>
                <a:gd name="connsiteY47" fmla="*/ 792347 h 1384764"/>
                <a:gd name="connsiteX48" fmla="*/ 249938 w 1481841"/>
                <a:gd name="connsiteY48" fmla="*/ 784642 h 1384764"/>
                <a:gd name="connsiteX49" fmla="*/ 277836 w 1481841"/>
                <a:gd name="connsiteY49" fmla="*/ 778099 h 1384764"/>
                <a:gd name="connsiteX50" fmla="*/ 309272 w 1481841"/>
                <a:gd name="connsiteY50" fmla="*/ 809632 h 1384764"/>
                <a:gd name="connsiteX51" fmla="*/ 325927 w 1481841"/>
                <a:gd name="connsiteY51" fmla="*/ 831473 h 1384764"/>
                <a:gd name="connsiteX52" fmla="*/ 385100 w 1481841"/>
                <a:gd name="connsiteY52" fmla="*/ 853346 h 1384764"/>
                <a:gd name="connsiteX53" fmla="*/ 448376 w 1481841"/>
                <a:gd name="connsiteY53" fmla="*/ 878094 h 1384764"/>
                <a:gd name="connsiteX54" fmla="*/ 453352 w 1481841"/>
                <a:gd name="connsiteY54" fmla="*/ 894167 h 1384764"/>
                <a:gd name="connsiteX55" fmla="*/ 444144 w 1481841"/>
                <a:gd name="connsiteY55" fmla="*/ 901841 h 1384764"/>
                <a:gd name="connsiteX56" fmla="*/ 403661 w 1481841"/>
                <a:gd name="connsiteY56" fmla="*/ 920531 h 1384764"/>
                <a:gd name="connsiteX57" fmla="*/ 415567 w 1481841"/>
                <a:gd name="connsiteY57" fmla="*/ 923374 h 1384764"/>
                <a:gd name="connsiteX58" fmla="*/ 426729 w 1481841"/>
                <a:gd name="connsiteY58" fmla="*/ 925135 h 1384764"/>
                <a:gd name="connsiteX59" fmla="*/ 440735 w 1481841"/>
                <a:gd name="connsiteY59" fmla="*/ 955036 h 1384764"/>
                <a:gd name="connsiteX60" fmla="*/ 419250 w 1481841"/>
                <a:gd name="connsiteY60" fmla="*/ 980592 h 1384764"/>
                <a:gd name="connsiteX61" fmla="*/ 416649 w 1481841"/>
                <a:gd name="connsiteY61" fmla="*/ 982143 h 1384764"/>
                <a:gd name="connsiteX62" fmla="*/ 406262 w 1481841"/>
                <a:gd name="connsiteY62" fmla="*/ 990220 h 1384764"/>
                <a:gd name="connsiteX63" fmla="*/ 401981 w 1481841"/>
                <a:gd name="connsiteY63" fmla="*/ 1006585 h 1384764"/>
                <a:gd name="connsiteX64" fmla="*/ 397733 w 1481841"/>
                <a:gd name="connsiteY64" fmla="*/ 1024257 h 1384764"/>
                <a:gd name="connsiteX65" fmla="*/ 392289 w 1481841"/>
                <a:gd name="connsiteY65" fmla="*/ 1031349 h 1384764"/>
                <a:gd name="connsiteX66" fmla="*/ 386199 w 1481841"/>
                <a:gd name="connsiteY66" fmla="*/ 1041930 h 1384764"/>
                <a:gd name="connsiteX67" fmla="*/ 389219 w 1481841"/>
                <a:gd name="connsiteY67" fmla="*/ 1051009 h 1384764"/>
                <a:gd name="connsiteX68" fmla="*/ 390011 w 1481841"/>
                <a:gd name="connsiteY68" fmla="*/ 1052576 h 1384764"/>
                <a:gd name="connsiteX69" fmla="*/ 389268 w 1481841"/>
                <a:gd name="connsiteY69" fmla="*/ 1135883 h 1384764"/>
                <a:gd name="connsiteX70" fmla="*/ 387362 w 1481841"/>
                <a:gd name="connsiteY70" fmla="*/ 1142135 h 1384764"/>
                <a:gd name="connsiteX71" fmla="*/ 365990 w 1481841"/>
                <a:gd name="connsiteY71" fmla="*/ 1195023 h 1384764"/>
                <a:gd name="connsiteX72" fmla="*/ 384648 w 1481841"/>
                <a:gd name="connsiteY72" fmla="*/ 1219982 h 1384764"/>
                <a:gd name="connsiteX73" fmla="*/ 398120 w 1481841"/>
                <a:gd name="connsiteY73" fmla="*/ 1234844 h 1384764"/>
                <a:gd name="connsiteX74" fmla="*/ 440574 w 1481841"/>
                <a:gd name="connsiteY74" fmla="*/ 1243486 h 1384764"/>
                <a:gd name="connsiteX75" fmla="*/ 473770 w 1481841"/>
                <a:gd name="connsiteY75" fmla="*/ 1246588 h 1384764"/>
                <a:gd name="connsiteX76" fmla="*/ 479748 w 1481841"/>
                <a:gd name="connsiteY76" fmla="*/ 1207850 h 1384764"/>
                <a:gd name="connsiteX77" fmla="*/ 487082 w 1481841"/>
                <a:gd name="connsiteY77" fmla="*/ 1163846 h 1384764"/>
                <a:gd name="connsiteX78" fmla="*/ 509730 w 1481841"/>
                <a:gd name="connsiteY78" fmla="*/ 1148257 h 1384764"/>
                <a:gd name="connsiteX79" fmla="*/ 528388 w 1481841"/>
                <a:gd name="connsiteY79" fmla="*/ 1152667 h 1384764"/>
                <a:gd name="connsiteX80" fmla="*/ 536966 w 1481841"/>
                <a:gd name="connsiteY80" fmla="*/ 1163733 h 1384764"/>
                <a:gd name="connsiteX81" fmla="*/ 539696 w 1481841"/>
                <a:gd name="connsiteY81" fmla="*/ 1168094 h 1384764"/>
                <a:gd name="connsiteX82" fmla="*/ 590032 w 1481841"/>
                <a:gd name="connsiteY82" fmla="*/ 1197947 h 1384764"/>
                <a:gd name="connsiteX83" fmla="*/ 600048 w 1481841"/>
                <a:gd name="connsiteY83" fmla="*/ 1198674 h 1384764"/>
                <a:gd name="connsiteX84" fmla="*/ 603521 w 1481841"/>
                <a:gd name="connsiteY84" fmla="*/ 1194716 h 1384764"/>
                <a:gd name="connsiteX85" fmla="*/ 606186 w 1481841"/>
                <a:gd name="connsiteY85" fmla="*/ 1191195 h 1384764"/>
                <a:gd name="connsiteX86" fmla="*/ 621856 w 1481841"/>
                <a:gd name="connsiteY86" fmla="*/ 1184135 h 1384764"/>
                <a:gd name="connsiteX87" fmla="*/ 714759 w 1481841"/>
                <a:gd name="connsiteY87" fmla="*/ 1181729 h 1384764"/>
                <a:gd name="connsiteX88" fmla="*/ 745678 w 1481841"/>
                <a:gd name="connsiteY88" fmla="*/ 1226686 h 1384764"/>
                <a:gd name="connsiteX89" fmla="*/ 739766 w 1481841"/>
                <a:gd name="connsiteY89" fmla="*/ 1238155 h 1384764"/>
                <a:gd name="connsiteX90" fmla="*/ 734661 w 1481841"/>
                <a:gd name="connsiteY90" fmla="*/ 1255779 h 1384764"/>
                <a:gd name="connsiteX91" fmla="*/ 759813 w 1481841"/>
                <a:gd name="connsiteY91" fmla="*/ 1262322 h 1384764"/>
                <a:gd name="connsiteX92" fmla="*/ 764304 w 1481841"/>
                <a:gd name="connsiteY92" fmla="*/ 1262080 h 1384764"/>
                <a:gd name="connsiteX93" fmla="*/ 802606 w 1481841"/>
                <a:gd name="connsiteY93" fmla="*/ 1269623 h 1384764"/>
                <a:gd name="connsiteX94" fmla="*/ 848693 w 1481841"/>
                <a:gd name="connsiteY94" fmla="*/ 1284615 h 1384764"/>
                <a:gd name="connsiteX95" fmla="*/ 936055 w 1481841"/>
                <a:gd name="connsiteY95" fmla="*/ 1326906 h 1384764"/>
                <a:gd name="connsiteX96" fmla="*/ 959334 w 1481841"/>
                <a:gd name="connsiteY96" fmla="*/ 1326292 h 1384764"/>
                <a:gd name="connsiteX97" fmla="*/ 1054434 w 1481841"/>
                <a:gd name="connsiteY97" fmla="*/ 1378761 h 1384764"/>
                <a:gd name="connsiteX98" fmla="*/ 1062139 w 1481841"/>
                <a:gd name="connsiteY98" fmla="*/ 1384641 h 1384764"/>
                <a:gd name="connsiteX99" fmla="*/ 1072494 w 1481841"/>
                <a:gd name="connsiteY99" fmla="*/ 1375644 h 1384764"/>
                <a:gd name="connsiteX100" fmla="*/ 1072494 w 1481841"/>
                <a:gd name="connsiteY100" fmla="*/ 1362688 h 1384764"/>
                <a:gd name="connsiteX101" fmla="*/ 1071993 w 1481841"/>
                <a:gd name="connsiteY101" fmla="*/ 1356808 h 1384764"/>
                <a:gd name="connsiteX102" fmla="*/ 1102589 w 1481841"/>
                <a:gd name="connsiteY102" fmla="*/ 1310364 h 1384764"/>
                <a:gd name="connsiteX103" fmla="*/ 1133444 w 1481841"/>
                <a:gd name="connsiteY103" fmla="*/ 1318070 h 1384764"/>
                <a:gd name="connsiteX104" fmla="*/ 1144025 w 1481841"/>
                <a:gd name="connsiteY104" fmla="*/ 1336227 h 1384764"/>
                <a:gd name="connsiteX105" fmla="*/ 1207398 w 1481841"/>
                <a:gd name="connsiteY105" fmla="*/ 1325049 h 1384764"/>
                <a:gd name="connsiteX106" fmla="*/ 1240336 w 1481841"/>
                <a:gd name="connsiteY106" fmla="*/ 1332738 h 1384764"/>
                <a:gd name="connsiteX107" fmla="*/ 1275116 w 1481841"/>
                <a:gd name="connsiteY107" fmla="*/ 1340670 h 1384764"/>
                <a:gd name="connsiteX108" fmla="*/ 1295244 w 1481841"/>
                <a:gd name="connsiteY108" fmla="*/ 1342608 h 1384764"/>
                <a:gd name="connsiteX109" fmla="*/ 1339701 w 1481841"/>
                <a:gd name="connsiteY109" fmla="*/ 1350928 h 1384764"/>
                <a:gd name="connsiteX110" fmla="*/ 1351606 w 1481841"/>
                <a:gd name="connsiteY110" fmla="*/ 1357018 h 1384764"/>
                <a:gd name="connsiteX111" fmla="*/ 1368827 w 1481841"/>
                <a:gd name="connsiteY111" fmla="*/ 1364966 h 1384764"/>
                <a:gd name="connsiteX112" fmla="*/ 1442587 w 1481841"/>
                <a:gd name="connsiteY112" fmla="*/ 1336227 h 1384764"/>
                <a:gd name="connsiteX113" fmla="*/ 1448580 w 1481841"/>
                <a:gd name="connsiteY113" fmla="*/ 1329378 h 1384764"/>
                <a:gd name="connsiteX114" fmla="*/ 1449032 w 1481841"/>
                <a:gd name="connsiteY114" fmla="*/ 1322965 h 1384764"/>
                <a:gd name="connsiteX115" fmla="*/ 1448968 w 1481841"/>
                <a:gd name="connsiteY115" fmla="*/ 1319459 h 1384764"/>
                <a:gd name="connsiteX116" fmla="*/ 1481841 w 1481841"/>
                <a:gd name="connsiteY116" fmla="*/ 1284340 h 1384764"/>
                <a:gd name="connsiteX117" fmla="*/ 1460922 w 1481841"/>
                <a:gd name="connsiteY117" fmla="*/ 1264228 h 1384764"/>
                <a:gd name="connsiteX118" fmla="*/ 1453992 w 1481841"/>
                <a:gd name="connsiteY118" fmla="*/ 1225926 h 1384764"/>
                <a:gd name="connsiteX119" fmla="*/ 1456738 w 1481841"/>
                <a:gd name="connsiteY119" fmla="*/ 1220046 h 1384764"/>
                <a:gd name="connsiteX120" fmla="*/ 1459549 w 1481841"/>
                <a:gd name="connsiteY120" fmla="*/ 1213827 h 1384764"/>
                <a:gd name="connsiteX121" fmla="*/ 1453184 w 1481841"/>
                <a:gd name="connsiteY121" fmla="*/ 1190726 h 1384764"/>
                <a:gd name="connsiteX122" fmla="*/ 1446738 w 1481841"/>
                <a:gd name="connsiteY122" fmla="*/ 1186381 h 1384764"/>
                <a:gd name="connsiteX123" fmla="*/ 1438354 w 1481841"/>
                <a:gd name="connsiteY123" fmla="*/ 1180420 h 1384764"/>
                <a:gd name="connsiteX124" fmla="*/ 1428500 w 1481841"/>
                <a:gd name="connsiteY124" fmla="*/ 1151698 h 1384764"/>
                <a:gd name="connsiteX125" fmla="*/ 1424510 w 1481841"/>
                <a:gd name="connsiteY125" fmla="*/ 1131909 h 1384764"/>
                <a:gd name="connsiteX126" fmla="*/ 1420520 w 1481841"/>
                <a:gd name="connsiteY126" fmla="*/ 1124898 h 1384764"/>
                <a:gd name="connsiteX127" fmla="*/ 1416304 w 1481841"/>
                <a:gd name="connsiteY127" fmla="*/ 1117532 h 1384764"/>
                <a:gd name="connsiteX128" fmla="*/ 1411619 w 1481841"/>
                <a:gd name="connsiteY128" fmla="*/ 1095013 h 1384764"/>
                <a:gd name="connsiteX129" fmla="*/ 1410908 w 1481841"/>
                <a:gd name="connsiteY129" fmla="*/ 1087808 h 1384764"/>
                <a:gd name="connsiteX130" fmla="*/ 1391604 w 1481841"/>
                <a:gd name="connsiteY130" fmla="*/ 1041801 h 1384764"/>
                <a:gd name="connsiteX131" fmla="*/ 1390425 w 1481841"/>
                <a:gd name="connsiteY131" fmla="*/ 1040315 h 1384764"/>
                <a:gd name="connsiteX132" fmla="*/ 1383349 w 1481841"/>
                <a:gd name="connsiteY132" fmla="*/ 1028474 h 1384764"/>
                <a:gd name="connsiteX133" fmla="*/ 1382461 w 1481841"/>
                <a:gd name="connsiteY133" fmla="*/ 1020332 h 1384764"/>
                <a:gd name="connsiteX134" fmla="*/ 1382122 w 1481841"/>
                <a:gd name="connsiteY134" fmla="*/ 1015130 h 1384764"/>
                <a:gd name="connsiteX135" fmla="*/ 1363157 w 1481841"/>
                <a:gd name="connsiteY135" fmla="*/ 994113 h 1384764"/>
                <a:gd name="connsiteX136" fmla="*/ 1357454 w 1481841"/>
                <a:gd name="connsiteY136" fmla="*/ 991125 h 1384764"/>
                <a:gd name="connsiteX137" fmla="*/ 1335791 w 1481841"/>
                <a:gd name="connsiteY137" fmla="*/ 975972 h 1384764"/>
                <a:gd name="connsiteX138" fmla="*/ 1327520 w 1481841"/>
                <a:gd name="connsiteY138" fmla="*/ 926072 h 1384764"/>
                <a:gd name="connsiteX139" fmla="*/ 1320461 w 1481841"/>
                <a:gd name="connsiteY139" fmla="*/ 880307 h 1384764"/>
                <a:gd name="connsiteX140" fmla="*/ 1305551 w 1481841"/>
                <a:gd name="connsiteY140" fmla="*/ 868821 h 1384764"/>
                <a:gd name="connsiteX141" fmla="*/ 1294857 w 1481841"/>
                <a:gd name="connsiteY141" fmla="*/ 861584 h 1384764"/>
                <a:gd name="connsiteX142" fmla="*/ 1277281 w 1481841"/>
                <a:gd name="connsiteY142" fmla="*/ 826174 h 1384764"/>
                <a:gd name="connsiteX143" fmla="*/ 1264680 w 1481841"/>
                <a:gd name="connsiteY143" fmla="*/ 770669 h 1384764"/>
                <a:gd name="connsiteX144" fmla="*/ 1260174 w 1481841"/>
                <a:gd name="connsiteY144" fmla="*/ 762801 h 1384764"/>
                <a:gd name="connsiteX145" fmla="*/ 1258623 w 1481841"/>
                <a:gd name="connsiteY145" fmla="*/ 762721 h 1384764"/>
                <a:gd name="connsiteX146" fmla="*/ 1256571 w 1481841"/>
                <a:gd name="connsiteY146" fmla="*/ 764449 h 1384764"/>
                <a:gd name="connsiteX147" fmla="*/ 1253179 w 1481841"/>
                <a:gd name="connsiteY147" fmla="*/ 767228 h 1384764"/>
                <a:gd name="connsiteX148" fmla="*/ 1239545 w 1481841"/>
                <a:gd name="connsiteY148" fmla="*/ 764223 h 1384764"/>
                <a:gd name="connsiteX149" fmla="*/ 1215329 w 1481841"/>
                <a:gd name="connsiteY149" fmla="*/ 743287 h 1384764"/>
                <a:gd name="connsiteX150" fmla="*/ 1165300 w 1481841"/>
                <a:gd name="connsiteY150" fmla="*/ 708766 h 1384764"/>
                <a:gd name="connsiteX151" fmla="*/ 1155381 w 1481841"/>
                <a:gd name="connsiteY151" fmla="*/ 706132 h 1384764"/>
                <a:gd name="connsiteX152" fmla="*/ 1125593 w 1481841"/>
                <a:gd name="connsiteY152" fmla="*/ 691125 h 1384764"/>
                <a:gd name="connsiteX153" fmla="*/ 1119260 w 1481841"/>
                <a:gd name="connsiteY153" fmla="*/ 677636 h 1384764"/>
                <a:gd name="connsiteX154" fmla="*/ 1118808 w 1481841"/>
                <a:gd name="connsiteY154" fmla="*/ 676328 h 1384764"/>
                <a:gd name="connsiteX155" fmla="*/ 1113089 w 1481841"/>
                <a:gd name="connsiteY155" fmla="*/ 657928 h 1384764"/>
                <a:gd name="connsiteX156" fmla="*/ 1078891 w 1481841"/>
                <a:gd name="connsiteY156" fmla="*/ 603553 h 1384764"/>
                <a:gd name="connsiteX157" fmla="*/ 1063932 w 1481841"/>
                <a:gd name="connsiteY157" fmla="*/ 567222 h 1384764"/>
                <a:gd name="connsiteX158" fmla="*/ 1035759 w 1481841"/>
                <a:gd name="connsiteY158" fmla="*/ 425469 h 1384764"/>
                <a:gd name="connsiteX159" fmla="*/ 1018458 w 1481841"/>
                <a:gd name="connsiteY159" fmla="*/ 407473 h 1384764"/>
                <a:gd name="connsiteX160" fmla="*/ 994340 w 1481841"/>
                <a:gd name="connsiteY160" fmla="*/ 380076 h 1384764"/>
                <a:gd name="connsiteX161" fmla="*/ 985406 w 1481841"/>
                <a:gd name="connsiteY161" fmla="*/ 362193 h 1384764"/>
                <a:gd name="connsiteX162" fmla="*/ 980302 w 1481841"/>
                <a:gd name="connsiteY162" fmla="*/ 351225 h 1384764"/>
                <a:gd name="connsiteX163" fmla="*/ 965230 w 1481841"/>
                <a:gd name="connsiteY163" fmla="*/ 326783 h 1384764"/>
                <a:gd name="connsiteX164" fmla="*/ 941709 w 1481841"/>
                <a:gd name="connsiteY164" fmla="*/ 277432 h 1384764"/>
                <a:gd name="connsiteX165" fmla="*/ 940692 w 1481841"/>
                <a:gd name="connsiteY165" fmla="*/ 264153 h 1384764"/>
                <a:gd name="connsiteX166" fmla="*/ 937945 w 1481841"/>
                <a:gd name="connsiteY166" fmla="*/ 243977 h 1384764"/>
                <a:gd name="connsiteX167" fmla="*/ 929707 w 1481841"/>
                <a:gd name="connsiteY167" fmla="*/ 228808 h 1384764"/>
                <a:gd name="connsiteX168" fmla="*/ 921484 w 1481841"/>
                <a:gd name="connsiteY168" fmla="*/ 214140 h 1384764"/>
                <a:gd name="connsiteX169" fmla="*/ 917397 w 1481841"/>
                <a:gd name="connsiteY169" fmla="*/ 198616 h 1384764"/>
                <a:gd name="connsiteX170" fmla="*/ 909240 w 1481841"/>
                <a:gd name="connsiteY170" fmla="*/ 176808 h 1384764"/>
                <a:gd name="connsiteX171" fmla="*/ 905589 w 1481841"/>
                <a:gd name="connsiteY171" fmla="*/ 173124 h 1384764"/>
                <a:gd name="connsiteX172" fmla="*/ 897625 w 1481841"/>
                <a:gd name="connsiteY172" fmla="*/ 161768 h 1384764"/>
                <a:gd name="connsiteX173" fmla="*/ 907301 w 1481841"/>
                <a:gd name="connsiteY173" fmla="*/ 140800 h 1384764"/>
                <a:gd name="connsiteX174" fmla="*/ 912018 w 1481841"/>
                <a:gd name="connsiteY174" fmla="*/ 135502 h 1384764"/>
                <a:gd name="connsiteX175" fmla="*/ 913116 w 1481841"/>
                <a:gd name="connsiteY175" fmla="*/ 102305 h 1384764"/>
                <a:gd name="connsiteX176" fmla="*/ 899983 w 1481841"/>
                <a:gd name="connsiteY176" fmla="*/ 89785 h 1384764"/>
                <a:gd name="connsiteX177" fmla="*/ 891421 w 1481841"/>
                <a:gd name="connsiteY177" fmla="*/ 82661 h 1384764"/>
                <a:gd name="connsiteX178" fmla="*/ 882843 w 1481841"/>
                <a:gd name="connsiteY178" fmla="*/ 52501 h 1384764"/>
                <a:gd name="connsiteX179" fmla="*/ 884314 w 1481841"/>
                <a:gd name="connsiteY179" fmla="*/ 50046 h 1384764"/>
                <a:gd name="connsiteX180" fmla="*/ 886300 w 1481841"/>
                <a:gd name="connsiteY180" fmla="*/ 44893 h 1384764"/>
                <a:gd name="connsiteX181" fmla="*/ 880097 w 1481841"/>
                <a:gd name="connsiteY181" fmla="*/ 41306 h 1384764"/>
                <a:gd name="connsiteX182" fmla="*/ 870211 w 1481841"/>
                <a:gd name="connsiteY182" fmla="*/ 33132 h 1384764"/>
                <a:gd name="connsiteX183" fmla="*/ 871697 w 1481841"/>
                <a:gd name="connsiteY183" fmla="*/ 26493 h 1384764"/>
                <a:gd name="connsiteX184" fmla="*/ 872666 w 1481841"/>
                <a:gd name="connsiteY184" fmla="*/ 24021 h 1384764"/>
                <a:gd name="connsiteX185" fmla="*/ 868208 w 1481841"/>
                <a:gd name="connsiteY185" fmla="*/ 13973 h 1384764"/>
                <a:gd name="connsiteX186" fmla="*/ 863200 w 1481841"/>
                <a:gd name="connsiteY186" fmla="*/ 5799 h 1384764"/>
                <a:gd name="connsiteX187" fmla="*/ 859888 w 1481841"/>
                <a:gd name="connsiteY187" fmla="*/ 0 h 1384764"/>
                <a:gd name="connsiteX188" fmla="*/ 827580 w 1481841"/>
                <a:gd name="connsiteY188" fmla="*/ 24619 h 1384764"/>
                <a:gd name="connsiteX189" fmla="*/ 812540 w 1481841"/>
                <a:gd name="connsiteY189" fmla="*/ 53584 h 1384764"/>
                <a:gd name="connsiteX190" fmla="*/ 807290 w 1481841"/>
                <a:gd name="connsiteY190" fmla="*/ 65037 h 1384764"/>
                <a:gd name="connsiteX191" fmla="*/ 751429 w 1481841"/>
                <a:gd name="connsiteY191" fmla="*/ 141479 h 1384764"/>
                <a:gd name="connsiteX192" fmla="*/ 744273 w 1481841"/>
                <a:gd name="connsiteY192" fmla="*/ 148037 h 1384764"/>
                <a:gd name="connsiteX193" fmla="*/ 720817 w 1481841"/>
                <a:gd name="connsiteY193" fmla="*/ 173108 h 1384764"/>
                <a:gd name="connsiteX194" fmla="*/ 715890 w 1481841"/>
                <a:gd name="connsiteY194" fmla="*/ 181379 h 1384764"/>
                <a:gd name="connsiteX195" fmla="*/ 704065 w 1481841"/>
                <a:gd name="connsiteY195" fmla="*/ 198212 h 1384764"/>
                <a:gd name="connsiteX196" fmla="*/ 674939 w 1481841"/>
                <a:gd name="connsiteY196" fmla="*/ 212880 h 1384764"/>
                <a:gd name="connsiteX197" fmla="*/ 538630 w 1481841"/>
                <a:gd name="connsiteY197" fmla="*/ 243848 h 1384764"/>
                <a:gd name="connsiteX198" fmla="*/ 515109 w 1481841"/>
                <a:gd name="connsiteY198" fmla="*/ 240730 h 1384764"/>
                <a:gd name="connsiteX199" fmla="*/ 499714 w 1481841"/>
                <a:gd name="connsiteY199" fmla="*/ 228226 h 1384764"/>
                <a:gd name="connsiteX200" fmla="*/ 494771 w 1481841"/>
                <a:gd name="connsiteY200" fmla="*/ 223235 h 1384764"/>
                <a:gd name="connsiteX201" fmla="*/ 447585 w 1481841"/>
                <a:gd name="connsiteY201" fmla="*/ 198454 h 1384764"/>
                <a:gd name="connsiteX202" fmla="*/ 419735 w 1481841"/>
                <a:gd name="connsiteY202" fmla="*/ 191411 h 1384764"/>
                <a:gd name="connsiteX203" fmla="*/ 394647 w 1481841"/>
                <a:gd name="connsiteY203" fmla="*/ 195126 h 1384764"/>
                <a:gd name="connsiteX204" fmla="*/ 281826 w 1481841"/>
                <a:gd name="connsiteY204" fmla="*/ 222362 h 1384764"/>
                <a:gd name="connsiteX205" fmla="*/ 263879 w 1481841"/>
                <a:gd name="connsiteY205" fmla="*/ 224818 h 1384764"/>
                <a:gd name="connsiteX206" fmla="*/ 248936 w 1481841"/>
                <a:gd name="connsiteY206" fmla="*/ 221409 h 1384764"/>
                <a:gd name="connsiteX207" fmla="*/ 247951 w 1481841"/>
                <a:gd name="connsiteY207" fmla="*/ 221102 h 1384764"/>
                <a:gd name="connsiteX208" fmla="*/ 160217 w 1481841"/>
                <a:gd name="connsiteY208" fmla="*/ 206887 h 1384764"/>
                <a:gd name="connsiteX209" fmla="*/ 120074 w 1481841"/>
                <a:gd name="connsiteY209" fmla="*/ 202929 h 1384764"/>
                <a:gd name="connsiteX210" fmla="*/ 27317 w 1481841"/>
                <a:gd name="connsiteY210" fmla="*/ 217371 h 1384764"/>
                <a:gd name="connsiteX211" fmla="*/ 0 w 1481841"/>
                <a:gd name="connsiteY211" fmla="*/ 230020 h 1384764"/>
                <a:gd name="connsiteX212" fmla="*/ 4572 w 1481841"/>
                <a:gd name="connsiteY212" fmla="*/ 236174 h 1384764"/>
                <a:gd name="connsiteX213" fmla="*/ 11292 w 1481841"/>
                <a:gd name="connsiteY213" fmla="*/ 245350 h 1384764"/>
                <a:gd name="connsiteX214" fmla="*/ 11163 w 1481841"/>
                <a:gd name="connsiteY214" fmla="*/ 245366 h 138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1481841" h="1384764">
                  <a:moveTo>
                    <a:pt x="11163" y="245366"/>
                  </a:moveTo>
                  <a:cubicBezTo>
                    <a:pt x="15072" y="251553"/>
                    <a:pt x="14797" y="259388"/>
                    <a:pt x="14587" y="265090"/>
                  </a:cubicBezTo>
                  <a:lnTo>
                    <a:pt x="12471" y="323617"/>
                  </a:lnTo>
                  <a:cubicBezTo>
                    <a:pt x="12358" y="326622"/>
                    <a:pt x="12374" y="329239"/>
                    <a:pt x="13634" y="330967"/>
                  </a:cubicBezTo>
                  <a:cubicBezTo>
                    <a:pt x="14991" y="332825"/>
                    <a:pt x="17689" y="333374"/>
                    <a:pt x="19175" y="333536"/>
                  </a:cubicBezTo>
                  <a:cubicBezTo>
                    <a:pt x="29352" y="334634"/>
                    <a:pt x="38075" y="326702"/>
                    <a:pt x="46524" y="319045"/>
                  </a:cubicBezTo>
                  <a:cubicBezTo>
                    <a:pt x="48382" y="317365"/>
                    <a:pt x="50207" y="315701"/>
                    <a:pt x="52049" y="314134"/>
                  </a:cubicBezTo>
                  <a:cubicBezTo>
                    <a:pt x="60336" y="307075"/>
                    <a:pt x="72193" y="303376"/>
                    <a:pt x="80868" y="305137"/>
                  </a:cubicBezTo>
                  <a:cubicBezTo>
                    <a:pt x="86215" y="306219"/>
                    <a:pt x="90270" y="309256"/>
                    <a:pt x="92612" y="313892"/>
                  </a:cubicBezTo>
                  <a:cubicBezTo>
                    <a:pt x="96909" y="322422"/>
                    <a:pt x="92741" y="332114"/>
                    <a:pt x="87863" y="337817"/>
                  </a:cubicBezTo>
                  <a:cubicBezTo>
                    <a:pt x="84470" y="341790"/>
                    <a:pt x="80335" y="344908"/>
                    <a:pt x="76345" y="347913"/>
                  </a:cubicBezTo>
                  <a:cubicBezTo>
                    <a:pt x="74342" y="349415"/>
                    <a:pt x="72274" y="350982"/>
                    <a:pt x="70384" y="352598"/>
                  </a:cubicBezTo>
                  <a:cubicBezTo>
                    <a:pt x="68995" y="353793"/>
                    <a:pt x="67137" y="355554"/>
                    <a:pt x="67121" y="357250"/>
                  </a:cubicBezTo>
                  <a:cubicBezTo>
                    <a:pt x="67121" y="359059"/>
                    <a:pt x="69172" y="360917"/>
                    <a:pt x="73243" y="362775"/>
                  </a:cubicBezTo>
                  <a:cubicBezTo>
                    <a:pt x="83937" y="367637"/>
                    <a:pt x="94857" y="372338"/>
                    <a:pt x="105713" y="376780"/>
                  </a:cubicBezTo>
                  <a:cubicBezTo>
                    <a:pt x="108621" y="377976"/>
                    <a:pt x="111222" y="378913"/>
                    <a:pt x="113564" y="378541"/>
                  </a:cubicBezTo>
                  <a:cubicBezTo>
                    <a:pt x="115616" y="378202"/>
                    <a:pt x="117538" y="376829"/>
                    <a:pt x="119590" y="375359"/>
                  </a:cubicBezTo>
                  <a:cubicBezTo>
                    <a:pt x="120656" y="374600"/>
                    <a:pt x="121754" y="373808"/>
                    <a:pt x="122933" y="373113"/>
                  </a:cubicBezTo>
                  <a:cubicBezTo>
                    <a:pt x="131528" y="368073"/>
                    <a:pt x="143352" y="369543"/>
                    <a:pt x="150444" y="376538"/>
                  </a:cubicBezTo>
                  <a:cubicBezTo>
                    <a:pt x="151672" y="377766"/>
                    <a:pt x="152851" y="379139"/>
                    <a:pt x="153982" y="380480"/>
                  </a:cubicBezTo>
                  <a:cubicBezTo>
                    <a:pt x="157665" y="384841"/>
                    <a:pt x="160104" y="387442"/>
                    <a:pt x="163141" y="386828"/>
                  </a:cubicBezTo>
                  <a:cubicBezTo>
                    <a:pt x="164450" y="386570"/>
                    <a:pt x="165694" y="385649"/>
                    <a:pt x="167148" y="384583"/>
                  </a:cubicBezTo>
                  <a:cubicBezTo>
                    <a:pt x="168424" y="383646"/>
                    <a:pt x="169732" y="382677"/>
                    <a:pt x="171332" y="381966"/>
                  </a:cubicBezTo>
                  <a:cubicBezTo>
                    <a:pt x="174821" y="380431"/>
                    <a:pt x="178762" y="380641"/>
                    <a:pt x="182462" y="382548"/>
                  </a:cubicBezTo>
                  <a:cubicBezTo>
                    <a:pt x="187405" y="385116"/>
                    <a:pt x="191330" y="390382"/>
                    <a:pt x="192461" y="395988"/>
                  </a:cubicBezTo>
                  <a:cubicBezTo>
                    <a:pt x="193673" y="401981"/>
                    <a:pt x="192703" y="407893"/>
                    <a:pt x="191767" y="413612"/>
                  </a:cubicBezTo>
                  <a:cubicBezTo>
                    <a:pt x="191363" y="416035"/>
                    <a:pt x="190991" y="418313"/>
                    <a:pt x="190765" y="420623"/>
                  </a:cubicBezTo>
                  <a:cubicBezTo>
                    <a:pt x="188730" y="441559"/>
                    <a:pt x="201201" y="462979"/>
                    <a:pt x="220392" y="471557"/>
                  </a:cubicBezTo>
                  <a:cubicBezTo>
                    <a:pt x="221232" y="471929"/>
                    <a:pt x="222104" y="472300"/>
                    <a:pt x="222960" y="472656"/>
                  </a:cubicBezTo>
                  <a:cubicBezTo>
                    <a:pt x="226401" y="474093"/>
                    <a:pt x="229955" y="475563"/>
                    <a:pt x="232895" y="478294"/>
                  </a:cubicBezTo>
                  <a:cubicBezTo>
                    <a:pt x="236320" y="481460"/>
                    <a:pt x="238129" y="485595"/>
                    <a:pt x="239890" y="489601"/>
                  </a:cubicBezTo>
                  <a:cubicBezTo>
                    <a:pt x="241522" y="493333"/>
                    <a:pt x="243072" y="496839"/>
                    <a:pt x="245754" y="499181"/>
                  </a:cubicBezTo>
                  <a:cubicBezTo>
                    <a:pt x="250293" y="503139"/>
                    <a:pt x="257110" y="503139"/>
                    <a:pt x="264396" y="503106"/>
                  </a:cubicBezTo>
                  <a:cubicBezTo>
                    <a:pt x="272974" y="503106"/>
                    <a:pt x="281907" y="503074"/>
                    <a:pt x="287739" y="509956"/>
                  </a:cubicBezTo>
                  <a:cubicBezTo>
                    <a:pt x="287997" y="510263"/>
                    <a:pt x="288191" y="510618"/>
                    <a:pt x="288304" y="510990"/>
                  </a:cubicBezTo>
                  <a:cubicBezTo>
                    <a:pt x="299870" y="549340"/>
                    <a:pt x="276140" y="588126"/>
                    <a:pt x="250083" y="611647"/>
                  </a:cubicBezTo>
                  <a:cubicBezTo>
                    <a:pt x="248145" y="613391"/>
                    <a:pt x="246158" y="615120"/>
                    <a:pt x="244171" y="616864"/>
                  </a:cubicBezTo>
                  <a:cubicBezTo>
                    <a:pt x="233735" y="625959"/>
                    <a:pt x="222928" y="635361"/>
                    <a:pt x="218970" y="648042"/>
                  </a:cubicBezTo>
                  <a:cubicBezTo>
                    <a:pt x="218243" y="650336"/>
                    <a:pt x="217759" y="652743"/>
                    <a:pt x="217226" y="655279"/>
                  </a:cubicBezTo>
                  <a:cubicBezTo>
                    <a:pt x="216079" y="660804"/>
                    <a:pt x="214883" y="666522"/>
                    <a:pt x="211248" y="671304"/>
                  </a:cubicBezTo>
                  <a:cubicBezTo>
                    <a:pt x="210199" y="672677"/>
                    <a:pt x="209035" y="673856"/>
                    <a:pt x="207905" y="675003"/>
                  </a:cubicBezTo>
                  <a:cubicBezTo>
                    <a:pt x="206612" y="676312"/>
                    <a:pt x="205384" y="677556"/>
                    <a:pt x="204496" y="678929"/>
                  </a:cubicBezTo>
                  <a:cubicBezTo>
                    <a:pt x="200571" y="684970"/>
                    <a:pt x="202978" y="692773"/>
                    <a:pt x="205530" y="701012"/>
                  </a:cubicBezTo>
                  <a:cubicBezTo>
                    <a:pt x="206321" y="703580"/>
                    <a:pt x="207145" y="706246"/>
                    <a:pt x="207743" y="708830"/>
                  </a:cubicBezTo>
                  <a:cubicBezTo>
                    <a:pt x="210215" y="719395"/>
                    <a:pt x="208987" y="730170"/>
                    <a:pt x="207775" y="740589"/>
                  </a:cubicBezTo>
                  <a:cubicBezTo>
                    <a:pt x="207065" y="746793"/>
                    <a:pt x="206321" y="753206"/>
                    <a:pt x="206418" y="759409"/>
                  </a:cubicBezTo>
                  <a:cubicBezTo>
                    <a:pt x="206564" y="769909"/>
                    <a:pt x="210829" y="780684"/>
                    <a:pt x="217258" y="786839"/>
                  </a:cubicBezTo>
                  <a:cubicBezTo>
                    <a:pt x="221232" y="790635"/>
                    <a:pt x="225739" y="792525"/>
                    <a:pt x="230682" y="792347"/>
                  </a:cubicBezTo>
                  <a:cubicBezTo>
                    <a:pt x="237192" y="792154"/>
                    <a:pt x="243670" y="788341"/>
                    <a:pt x="249938" y="784642"/>
                  </a:cubicBezTo>
                  <a:cubicBezTo>
                    <a:pt x="258758" y="779440"/>
                    <a:pt x="267885" y="774077"/>
                    <a:pt x="277836" y="778099"/>
                  </a:cubicBezTo>
                  <a:cubicBezTo>
                    <a:pt x="292617" y="784077"/>
                    <a:pt x="301082" y="797065"/>
                    <a:pt x="309272" y="809632"/>
                  </a:cubicBezTo>
                  <a:cubicBezTo>
                    <a:pt x="314248" y="817273"/>
                    <a:pt x="319401" y="825173"/>
                    <a:pt x="325927" y="831473"/>
                  </a:cubicBezTo>
                  <a:cubicBezTo>
                    <a:pt x="341047" y="846060"/>
                    <a:pt x="362452" y="849598"/>
                    <a:pt x="385100" y="853346"/>
                  </a:cubicBezTo>
                  <a:cubicBezTo>
                    <a:pt x="408217" y="857174"/>
                    <a:pt x="432141" y="861116"/>
                    <a:pt x="448376" y="878094"/>
                  </a:cubicBezTo>
                  <a:cubicBezTo>
                    <a:pt x="453610" y="883554"/>
                    <a:pt x="455419" y="889418"/>
                    <a:pt x="453352" y="894167"/>
                  </a:cubicBezTo>
                  <a:cubicBezTo>
                    <a:pt x="451478" y="898448"/>
                    <a:pt x="447068" y="900500"/>
                    <a:pt x="444144" y="901841"/>
                  </a:cubicBezTo>
                  <a:lnTo>
                    <a:pt x="403661" y="920531"/>
                  </a:lnTo>
                  <a:cubicBezTo>
                    <a:pt x="406004" y="922470"/>
                    <a:pt x="409994" y="922938"/>
                    <a:pt x="415567" y="923374"/>
                  </a:cubicBezTo>
                  <a:cubicBezTo>
                    <a:pt x="419331" y="923665"/>
                    <a:pt x="423208" y="923956"/>
                    <a:pt x="426729" y="925135"/>
                  </a:cubicBezTo>
                  <a:cubicBezTo>
                    <a:pt x="438780" y="929157"/>
                    <a:pt x="443691" y="943842"/>
                    <a:pt x="440735" y="955036"/>
                  </a:cubicBezTo>
                  <a:cubicBezTo>
                    <a:pt x="437488" y="967281"/>
                    <a:pt x="427262" y="975682"/>
                    <a:pt x="419250" y="980592"/>
                  </a:cubicBezTo>
                  <a:cubicBezTo>
                    <a:pt x="418394" y="981109"/>
                    <a:pt x="417522" y="981626"/>
                    <a:pt x="416649" y="982143"/>
                  </a:cubicBezTo>
                  <a:cubicBezTo>
                    <a:pt x="412578" y="984534"/>
                    <a:pt x="408734" y="986796"/>
                    <a:pt x="406262" y="990220"/>
                  </a:cubicBezTo>
                  <a:cubicBezTo>
                    <a:pt x="403064" y="994647"/>
                    <a:pt x="402530" y="1000446"/>
                    <a:pt x="401981" y="1006585"/>
                  </a:cubicBezTo>
                  <a:cubicBezTo>
                    <a:pt x="401432" y="1012594"/>
                    <a:pt x="400867" y="1018797"/>
                    <a:pt x="397733" y="1024257"/>
                  </a:cubicBezTo>
                  <a:cubicBezTo>
                    <a:pt x="396230" y="1026874"/>
                    <a:pt x="394227" y="1029152"/>
                    <a:pt x="392289" y="1031349"/>
                  </a:cubicBezTo>
                  <a:cubicBezTo>
                    <a:pt x="389236" y="1034822"/>
                    <a:pt x="386360" y="1038085"/>
                    <a:pt x="386199" y="1041930"/>
                  </a:cubicBezTo>
                  <a:cubicBezTo>
                    <a:pt x="386085" y="1044886"/>
                    <a:pt x="387604" y="1047859"/>
                    <a:pt x="389219" y="1051009"/>
                  </a:cubicBezTo>
                  <a:lnTo>
                    <a:pt x="390011" y="1052576"/>
                  </a:lnTo>
                  <a:cubicBezTo>
                    <a:pt x="403823" y="1080296"/>
                    <a:pt x="396198" y="1113396"/>
                    <a:pt x="389268" y="1135883"/>
                  </a:cubicBezTo>
                  <a:cubicBezTo>
                    <a:pt x="388638" y="1137918"/>
                    <a:pt x="388008" y="1140002"/>
                    <a:pt x="387362" y="1142135"/>
                  </a:cubicBezTo>
                  <a:cubicBezTo>
                    <a:pt x="381982" y="1159872"/>
                    <a:pt x="375925" y="1179758"/>
                    <a:pt x="365990" y="1195023"/>
                  </a:cubicBezTo>
                  <a:lnTo>
                    <a:pt x="384648" y="1219982"/>
                  </a:lnTo>
                  <a:cubicBezTo>
                    <a:pt x="388654" y="1225345"/>
                    <a:pt x="392806" y="1230886"/>
                    <a:pt x="398120" y="1234844"/>
                  </a:cubicBezTo>
                  <a:cubicBezTo>
                    <a:pt x="409816" y="1243535"/>
                    <a:pt x="424743" y="1243502"/>
                    <a:pt x="440574" y="1243486"/>
                  </a:cubicBezTo>
                  <a:cubicBezTo>
                    <a:pt x="451655" y="1243470"/>
                    <a:pt x="463109" y="1243454"/>
                    <a:pt x="473770" y="1246588"/>
                  </a:cubicBezTo>
                  <a:cubicBezTo>
                    <a:pt x="479828" y="1235716"/>
                    <a:pt x="480071" y="1222049"/>
                    <a:pt x="479748" y="1207850"/>
                  </a:cubicBezTo>
                  <a:cubicBezTo>
                    <a:pt x="479424" y="1193505"/>
                    <a:pt x="479053" y="1177254"/>
                    <a:pt x="487082" y="1163846"/>
                  </a:cubicBezTo>
                  <a:cubicBezTo>
                    <a:pt x="491879" y="1155833"/>
                    <a:pt x="500554" y="1149872"/>
                    <a:pt x="509730" y="1148257"/>
                  </a:cubicBezTo>
                  <a:cubicBezTo>
                    <a:pt x="516773" y="1147029"/>
                    <a:pt x="523396" y="1148596"/>
                    <a:pt x="528388" y="1152667"/>
                  </a:cubicBezTo>
                  <a:cubicBezTo>
                    <a:pt x="532168" y="1155753"/>
                    <a:pt x="534607" y="1159807"/>
                    <a:pt x="536966" y="1163733"/>
                  </a:cubicBezTo>
                  <a:cubicBezTo>
                    <a:pt x="537854" y="1165203"/>
                    <a:pt x="538743" y="1166689"/>
                    <a:pt x="539696" y="1168094"/>
                  </a:cubicBezTo>
                  <a:cubicBezTo>
                    <a:pt x="550293" y="1183699"/>
                    <a:pt x="568757" y="1190856"/>
                    <a:pt x="590032" y="1197947"/>
                  </a:cubicBezTo>
                  <a:cubicBezTo>
                    <a:pt x="593505" y="1199110"/>
                    <a:pt x="597447" y="1200225"/>
                    <a:pt x="600048" y="1198674"/>
                  </a:cubicBezTo>
                  <a:cubicBezTo>
                    <a:pt x="601389" y="1197883"/>
                    <a:pt x="602423" y="1196348"/>
                    <a:pt x="603521" y="1194716"/>
                  </a:cubicBezTo>
                  <a:cubicBezTo>
                    <a:pt x="604313" y="1193537"/>
                    <a:pt x="605137" y="1192326"/>
                    <a:pt x="606186" y="1191195"/>
                  </a:cubicBezTo>
                  <a:cubicBezTo>
                    <a:pt x="610500" y="1186526"/>
                    <a:pt x="617074" y="1185153"/>
                    <a:pt x="621856" y="1184135"/>
                  </a:cubicBezTo>
                  <a:cubicBezTo>
                    <a:pt x="649545" y="1178320"/>
                    <a:pt x="684001" y="1171067"/>
                    <a:pt x="714759" y="1181729"/>
                  </a:cubicBezTo>
                  <a:cubicBezTo>
                    <a:pt x="734596" y="1188594"/>
                    <a:pt x="752059" y="1207737"/>
                    <a:pt x="745678" y="1226686"/>
                  </a:cubicBezTo>
                  <a:cubicBezTo>
                    <a:pt x="744321" y="1230708"/>
                    <a:pt x="742011" y="1234488"/>
                    <a:pt x="739766" y="1238155"/>
                  </a:cubicBezTo>
                  <a:cubicBezTo>
                    <a:pt x="735792" y="1244649"/>
                    <a:pt x="732351" y="1250255"/>
                    <a:pt x="734661" y="1255779"/>
                  </a:cubicBezTo>
                  <a:cubicBezTo>
                    <a:pt x="737714" y="1263033"/>
                    <a:pt x="747019" y="1263081"/>
                    <a:pt x="759813" y="1262322"/>
                  </a:cubicBezTo>
                  <a:cubicBezTo>
                    <a:pt x="761348" y="1262225"/>
                    <a:pt x="762850" y="1262144"/>
                    <a:pt x="764304" y="1262080"/>
                  </a:cubicBezTo>
                  <a:cubicBezTo>
                    <a:pt x="777728" y="1261546"/>
                    <a:pt x="790926" y="1265827"/>
                    <a:pt x="802606" y="1269623"/>
                  </a:cubicBezTo>
                  <a:lnTo>
                    <a:pt x="848693" y="1284615"/>
                  </a:lnTo>
                  <a:cubicBezTo>
                    <a:pt x="877933" y="1294129"/>
                    <a:pt x="911033" y="1304904"/>
                    <a:pt x="936055" y="1326906"/>
                  </a:cubicBezTo>
                  <a:cubicBezTo>
                    <a:pt x="943648" y="1323999"/>
                    <a:pt x="952307" y="1324984"/>
                    <a:pt x="959334" y="1326292"/>
                  </a:cubicBezTo>
                  <a:cubicBezTo>
                    <a:pt x="995600" y="1333061"/>
                    <a:pt x="1029378" y="1351687"/>
                    <a:pt x="1054434" y="1378761"/>
                  </a:cubicBezTo>
                  <a:cubicBezTo>
                    <a:pt x="1056921" y="1381443"/>
                    <a:pt x="1059328" y="1384044"/>
                    <a:pt x="1062139" y="1384641"/>
                  </a:cubicBezTo>
                  <a:cubicBezTo>
                    <a:pt x="1066678" y="1385611"/>
                    <a:pt x="1071363" y="1380684"/>
                    <a:pt x="1072494" y="1375644"/>
                  </a:cubicBezTo>
                  <a:cubicBezTo>
                    <a:pt x="1073415" y="1371557"/>
                    <a:pt x="1072979" y="1367243"/>
                    <a:pt x="1072494" y="1362688"/>
                  </a:cubicBezTo>
                  <a:cubicBezTo>
                    <a:pt x="1072300" y="1360766"/>
                    <a:pt x="1072090" y="1358779"/>
                    <a:pt x="1071993" y="1356808"/>
                  </a:cubicBezTo>
                  <a:cubicBezTo>
                    <a:pt x="1070943" y="1335323"/>
                    <a:pt x="1084093" y="1315356"/>
                    <a:pt x="1102589" y="1310364"/>
                  </a:cubicBezTo>
                  <a:cubicBezTo>
                    <a:pt x="1112815" y="1307602"/>
                    <a:pt x="1124640" y="1310558"/>
                    <a:pt x="1133444" y="1318070"/>
                  </a:cubicBezTo>
                  <a:cubicBezTo>
                    <a:pt x="1139356" y="1323110"/>
                    <a:pt x="1143039" y="1329507"/>
                    <a:pt x="1144025" y="1336227"/>
                  </a:cubicBezTo>
                  <a:cubicBezTo>
                    <a:pt x="1164621" y="1321107"/>
                    <a:pt x="1192148" y="1322609"/>
                    <a:pt x="1207398" y="1325049"/>
                  </a:cubicBezTo>
                  <a:cubicBezTo>
                    <a:pt x="1218593" y="1326842"/>
                    <a:pt x="1229642" y="1329830"/>
                    <a:pt x="1240336" y="1332738"/>
                  </a:cubicBezTo>
                  <a:cubicBezTo>
                    <a:pt x="1251676" y="1335807"/>
                    <a:pt x="1263388" y="1338990"/>
                    <a:pt x="1275116" y="1340670"/>
                  </a:cubicBezTo>
                  <a:cubicBezTo>
                    <a:pt x="1281723" y="1341607"/>
                    <a:pt x="1288589" y="1342124"/>
                    <a:pt x="1295244" y="1342608"/>
                  </a:cubicBezTo>
                  <a:cubicBezTo>
                    <a:pt x="1310171" y="1343707"/>
                    <a:pt x="1325598" y="1344837"/>
                    <a:pt x="1339701" y="1350928"/>
                  </a:cubicBezTo>
                  <a:cubicBezTo>
                    <a:pt x="1343836" y="1352705"/>
                    <a:pt x="1347794" y="1354902"/>
                    <a:pt x="1351606" y="1357018"/>
                  </a:cubicBezTo>
                  <a:cubicBezTo>
                    <a:pt x="1357373" y="1360216"/>
                    <a:pt x="1362833" y="1363237"/>
                    <a:pt x="1368827" y="1364966"/>
                  </a:cubicBezTo>
                  <a:cubicBezTo>
                    <a:pt x="1393914" y="1372235"/>
                    <a:pt x="1419099" y="1355451"/>
                    <a:pt x="1442587" y="1336227"/>
                  </a:cubicBezTo>
                  <a:cubicBezTo>
                    <a:pt x="1445430" y="1333901"/>
                    <a:pt x="1447675" y="1331914"/>
                    <a:pt x="1448580" y="1329378"/>
                  </a:cubicBezTo>
                  <a:cubicBezTo>
                    <a:pt x="1449242" y="1327520"/>
                    <a:pt x="1449145" y="1325307"/>
                    <a:pt x="1449032" y="1322965"/>
                  </a:cubicBezTo>
                  <a:cubicBezTo>
                    <a:pt x="1448984" y="1321785"/>
                    <a:pt x="1448935" y="1320622"/>
                    <a:pt x="1448968" y="1319459"/>
                  </a:cubicBezTo>
                  <a:cubicBezTo>
                    <a:pt x="1449420" y="1301512"/>
                    <a:pt x="1466656" y="1290963"/>
                    <a:pt x="1481841" y="1284340"/>
                  </a:cubicBezTo>
                  <a:cubicBezTo>
                    <a:pt x="1474120" y="1278573"/>
                    <a:pt x="1466673" y="1272273"/>
                    <a:pt x="1460922" y="1264228"/>
                  </a:cubicBezTo>
                  <a:cubicBezTo>
                    <a:pt x="1452102" y="1251902"/>
                    <a:pt x="1449501" y="1237590"/>
                    <a:pt x="1453992" y="1225926"/>
                  </a:cubicBezTo>
                  <a:cubicBezTo>
                    <a:pt x="1454783" y="1223859"/>
                    <a:pt x="1455785" y="1221920"/>
                    <a:pt x="1456738" y="1220046"/>
                  </a:cubicBezTo>
                  <a:cubicBezTo>
                    <a:pt x="1457820" y="1217930"/>
                    <a:pt x="1458854" y="1215927"/>
                    <a:pt x="1459549" y="1213827"/>
                  </a:cubicBezTo>
                  <a:cubicBezTo>
                    <a:pt x="1462214" y="1205895"/>
                    <a:pt x="1459549" y="1196170"/>
                    <a:pt x="1453184" y="1190726"/>
                  </a:cubicBezTo>
                  <a:cubicBezTo>
                    <a:pt x="1451278" y="1189095"/>
                    <a:pt x="1449081" y="1187770"/>
                    <a:pt x="1446738" y="1186381"/>
                  </a:cubicBezTo>
                  <a:cubicBezTo>
                    <a:pt x="1443879" y="1184669"/>
                    <a:pt x="1440907" y="1182892"/>
                    <a:pt x="1438354" y="1180420"/>
                  </a:cubicBezTo>
                  <a:cubicBezTo>
                    <a:pt x="1430536" y="1172828"/>
                    <a:pt x="1429502" y="1162085"/>
                    <a:pt x="1428500" y="1151698"/>
                  </a:cubicBezTo>
                  <a:cubicBezTo>
                    <a:pt x="1427838" y="1144865"/>
                    <a:pt x="1427160" y="1137789"/>
                    <a:pt x="1424510" y="1131909"/>
                  </a:cubicBezTo>
                  <a:cubicBezTo>
                    <a:pt x="1423428" y="1129518"/>
                    <a:pt x="1422022" y="1127273"/>
                    <a:pt x="1420520" y="1124898"/>
                  </a:cubicBezTo>
                  <a:cubicBezTo>
                    <a:pt x="1419050" y="1122572"/>
                    <a:pt x="1417531" y="1120165"/>
                    <a:pt x="1416304" y="1117532"/>
                  </a:cubicBezTo>
                  <a:cubicBezTo>
                    <a:pt x="1412976" y="1110375"/>
                    <a:pt x="1412281" y="1102557"/>
                    <a:pt x="1411619" y="1095013"/>
                  </a:cubicBezTo>
                  <a:cubicBezTo>
                    <a:pt x="1411409" y="1092606"/>
                    <a:pt x="1411199" y="1090183"/>
                    <a:pt x="1410908" y="1087808"/>
                  </a:cubicBezTo>
                  <a:cubicBezTo>
                    <a:pt x="1408808" y="1070991"/>
                    <a:pt x="1402137" y="1055079"/>
                    <a:pt x="1391604" y="1041801"/>
                  </a:cubicBezTo>
                  <a:lnTo>
                    <a:pt x="1390425" y="1040315"/>
                  </a:lnTo>
                  <a:cubicBezTo>
                    <a:pt x="1387582" y="1036793"/>
                    <a:pt x="1384625" y="1033142"/>
                    <a:pt x="1383349" y="1028474"/>
                  </a:cubicBezTo>
                  <a:cubicBezTo>
                    <a:pt x="1382590" y="1025711"/>
                    <a:pt x="1382525" y="1022981"/>
                    <a:pt x="1382461" y="1020332"/>
                  </a:cubicBezTo>
                  <a:cubicBezTo>
                    <a:pt x="1382412" y="1018506"/>
                    <a:pt x="1382380" y="1016778"/>
                    <a:pt x="1382122" y="1015130"/>
                  </a:cubicBezTo>
                  <a:cubicBezTo>
                    <a:pt x="1380878" y="1007376"/>
                    <a:pt x="1374497" y="1000301"/>
                    <a:pt x="1363157" y="994113"/>
                  </a:cubicBezTo>
                  <a:cubicBezTo>
                    <a:pt x="1361283" y="993096"/>
                    <a:pt x="1359376" y="992110"/>
                    <a:pt x="1357454" y="991125"/>
                  </a:cubicBezTo>
                  <a:cubicBezTo>
                    <a:pt x="1349652" y="987119"/>
                    <a:pt x="1341591" y="982983"/>
                    <a:pt x="1335791" y="975972"/>
                  </a:cubicBezTo>
                  <a:cubicBezTo>
                    <a:pt x="1324451" y="962274"/>
                    <a:pt x="1326018" y="943874"/>
                    <a:pt x="1327520" y="926072"/>
                  </a:cubicBezTo>
                  <a:cubicBezTo>
                    <a:pt x="1329007" y="908625"/>
                    <a:pt x="1330396" y="892148"/>
                    <a:pt x="1320461" y="880307"/>
                  </a:cubicBezTo>
                  <a:cubicBezTo>
                    <a:pt x="1316503" y="875590"/>
                    <a:pt x="1311172" y="872295"/>
                    <a:pt x="1305551" y="868821"/>
                  </a:cubicBezTo>
                  <a:cubicBezTo>
                    <a:pt x="1301964" y="866608"/>
                    <a:pt x="1298249" y="864314"/>
                    <a:pt x="1294857" y="861584"/>
                  </a:cubicBezTo>
                  <a:cubicBezTo>
                    <a:pt x="1283016" y="852070"/>
                    <a:pt x="1280366" y="840067"/>
                    <a:pt x="1277281" y="826174"/>
                  </a:cubicBezTo>
                  <a:lnTo>
                    <a:pt x="1264680" y="770669"/>
                  </a:lnTo>
                  <a:cubicBezTo>
                    <a:pt x="1263873" y="767098"/>
                    <a:pt x="1261934" y="763706"/>
                    <a:pt x="1260174" y="762801"/>
                  </a:cubicBezTo>
                  <a:cubicBezTo>
                    <a:pt x="1259624" y="762527"/>
                    <a:pt x="1259172" y="762495"/>
                    <a:pt x="1258623" y="762721"/>
                  </a:cubicBezTo>
                  <a:cubicBezTo>
                    <a:pt x="1257977" y="762979"/>
                    <a:pt x="1257298" y="763690"/>
                    <a:pt x="1256571" y="764449"/>
                  </a:cubicBezTo>
                  <a:cubicBezTo>
                    <a:pt x="1255650" y="765402"/>
                    <a:pt x="1254616" y="766485"/>
                    <a:pt x="1253179" y="767228"/>
                  </a:cubicBezTo>
                  <a:cubicBezTo>
                    <a:pt x="1247557" y="770184"/>
                    <a:pt x="1241531" y="765693"/>
                    <a:pt x="1239545" y="764223"/>
                  </a:cubicBezTo>
                  <a:cubicBezTo>
                    <a:pt x="1231031" y="757874"/>
                    <a:pt x="1223051" y="750460"/>
                    <a:pt x="1215329" y="743287"/>
                  </a:cubicBezTo>
                  <a:cubicBezTo>
                    <a:pt x="1199579" y="728651"/>
                    <a:pt x="1184685" y="714840"/>
                    <a:pt x="1165300" y="708766"/>
                  </a:cubicBezTo>
                  <a:cubicBezTo>
                    <a:pt x="1162134" y="707780"/>
                    <a:pt x="1158693" y="706940"/>
                    <a:pt x="1155381" y="706132"/>
                  </a:cubicBezTo>
                  <a:cubicBezTo>
                    <a:pt x="1144202" y="703419"/>
                    <a:pt x="1132652" y="700592"/>
                    <a:pt x="1125593" y="691125"/>
                  </a:cubicBezTo>
                  <a:cubicBezTo>
                    <a:pt x="1122523" y="687006"/>
                    <a:pt x="1120860" y="682240"/>
                    <a:pt x="1119260" y="677636"/>
                  </a:cubicBezTo>
                  <a:lnTo>
                    <a:pt x="1118808" y="676328"/>
                  </a:lnTo>
                  <a:cubicBezTo>
                    <a:pt x="1116724" y="670383"/>
                    <a:pt x="1114882" y="664051"/>
                    <a:pt x="1113089" y="657928"/>
                  </a:cubicBezTo>
                  <a:cubicBezTo>
                    <a:pt x="1106175" y="634198"/>
                    <a:pt x="1099649" y="611776"/>
                    <a:pt x="1078891" y="603553"/>
                  </a:cubicBezTo>
                  <a:cubicBezTo>
                    <a:pt x="1068181" y="599305"/>
                    <a:pt x="1063286" y="587431"/>
                    <a:pt x="1063932" y="567222"/>
                  </a:cubicBezTo>
                  <a:cubicBezTo>
                    <a:pt x="1065386" y="521296"/>
                    <a:pt x="1067211" y="464142"/>
                    <a:pt x="1035759" y="425469"/>
                  </a:cubicBezTo>
                  <a:cubicBezTo>
                    <a:pt x="1030558" y="419072"/>
                    <a:pt x="1024403" y="413176"/>
                    <a:pt x="1018458" y="407473"/>
                  </a:cubicBezTo>
                  <a:cubicBezTo>
                    <a:pt x="1009799" y="399170"/>
                    <a:pt x="1000834" y="390576"/>
                    <a:pt x="994340" y="380076"/>
                  </a:cubicBezTo>
                  <a:cubicBezTo>
                    <a:pt x="990786" y="374341"/>
                    <a:pt x="988056" y="368170"/>
                    <a:pt x="985406" y="362193"/>
                  </a:cubicBezTo>
                  <a:cubicBezTo>
                    <a:pt x="983791" y="358559"/>
                    <a:pt x="982127" y="354795"/>
                    <a:pt x="980302" y="351225"/>
                  </a:cubicBezTo>
                  <a:cubicBezTo>
                    <a:pt x="976037" y="342824"/>
                    <a:pt x="970545" y="334666"/>
                    <a:pt x="965230" y="326783"/>
                  </a:cubicBezTo>
                  <a:cubicBezTo>
                    <a:pt x="955004" y="311614"/>
                    <a:pt x="944439" y="295945"/>
                    <a:pt x="941709" y="277432"/>
                  </a:cubicBezTo>
                  <a:cubicBezTo>
                    <a:pt x="941047" y="273006"/>
                    <a:pt x="940869" y="268499"/>
                    <a:pt x="940692" y="264153"/>
                  </a:cubicBezTo>
                  <a:cubicBezTo>
                    <a:pt x="940401" y="257029"/>
                    <a:pt x="940126" y="250293"/>
                    <a:pt x="937945" y="243977"/>
                  </a:cubicBezTo>
                  <a:cubicBezTo>
                    <a:pt x="936104" y="238630"/>
                    <a:pt x="932986" y="233864"/>
                    <a:pt x="929707" y="228808"/>
                  </a:cubicBezTo>
                  <a:cubicBezTo>
                    <a:pt x="926702" y="224204"/>
                    <a:pt x="923600" y="219439"/>
                    <a:pt x="921484" y="214140"/>
                  </a:cubicBezTo>
                  <a:cubicBezTo>
                    <a:pt x="919497" y="209132"/>
                    <a:pt x="918431" y="203785"/>
                    <a:pt x="917397" y="198616"/>
                  </a:cubicBezTo>
                  <a:cubicBezTo>
                    <a:pt x="915766" y="190393"/>
                    <a:pt x="914231" y="182623"/>
                    <a:pt x="909240" y="176808"/>
                  </a:cubicBezTo>
                  <a:cubicBezTo>
                    <a:pt x="908157" y="175548"/>
                    <a:pt x="906913" y="174368"/>
                    <a:pt x="905589" y="173124"/>
                  </a:cubicBezTo>
                  <a:cubicBezTo>
                    <a:pt x="902228" y="169958"/>
                    <a:pt x="898771" y="166679"/>
                    <a:pt x="897625" y="161768"/>
                  </a:cubicBezTo>
                  <a:cubicBezTo>
                    <a:pt x="895621" y="153223"/>
                    <a:pt x="901825" y="146616"/>
                    <a:pt x="907301" y="140800"/>
                  </a:cubicBezTo>
                  <a:cubicBezTo>
                    <a:pt x="909013" y="138975"/>
                    <a:pt x="910645" y="137246"/>
                    <a:pt x="912018" y="135502"/>
                  </a:cubicBezTo>
                  <a:cubicBezTo>
                    <a:pt x="919271" y="126261"/>
                    <a:pt x="919740" y="111997"/>
                    <a:pt x="913116" y="102305"/>
                  </a:cubicBezTo>
                  <a:cubicBezTo>
                    <a:pt x="909756" y="97410"/>
                    <a:pt x="905023" y="93711"/>
                    <a:pt x="899983" y="89785"/>
                  </a:cubicBezTo>
                  <a:cubicBezTo>
                    <a:pt x="897108" y="87540"/>
                    <a:pt x="894135" y="85230"/>
                    <a:pt x="891421" y="82661"/>
                  </a:cubicBezTo>
                  <a:cubicBezTo>
                    <a:pt x="883280" y="74939"/>
                    <a:pt x="877480" y="62630"/>
                    <a:pt x="882843" y="52501"/>
                  </a:cubicBezTo>
                  <a:cubicBezTo>
                    <a:pt x="883280" y="51677"/>
                    <a:pt x="883797" y="50854"/>
                    <a:pt x="884314" y="50046"/>
                  </a:cubicBezTo>
                  <a:cubicBezTo>
                    <a:pt x="885525" y="48107"/>
                    <a:pt x="886688" y="46282"/>
                    <a:pt x="886300" y="44893"/>
                  </a:cubicBezTo>
                  <a:cubicBezTo>
                    <a:pt x="885864" y="43261"/>
                    <a:pt x="883554" y="42405"/>
                    <a:pt x="880097" y="41306"/>
                  </a:cubicBezTo>
                  <a:cubicBezTo>
                    <a:pt x="876043" y="40014"/>
                    <a:pt x="870986" y="38415"/>
                    <a:pt x="870211" y="33132"/>
                  </a:cubicBezTo>
                  <a:cubicBezTo>
                    <a:pt x="869823" y="30532"/>
                    <a:pt x="870873" y="28286"/>
                    <a:pt x="871697" y="26493"/>
                  </a:cubicBezTo>
                  <a:cubicBezTo>
                    <a:pt x="872101" y="25604"/>
                    <a:pt x="872489" y="24781"/>
                    <a:pt x="872666" y="24021"/>
                  </a:cubicBezTo>
                  <a:cubicBezTo>
                    <a:pt x="873442" y="20742"/>
                    <a:pt x="870776" y="17107"/>
                    <a:pt x="868208" y="13973"/>
                  </a:cubicBezTo>
                  <a:cubicBezTo>
                    <a:pt x="866092" y="11389"/>
                    <a:pt x="864622" y="8546"/>
                    <a:pt x="863200" y="5799"/>
                  </a:cubicBezTo>
                  <a:cubicBezTo>
                    <a:pt x="862134" y="3748"/>
                    <a:pt x="861116" y="1777"/>
                    <a:pt x="859888" y="0"/>
                  </a:cubicBezTo>
                  <a:cubicBezTo>
                    <a:pt x="843896" y="3570"/>
                    <a:pt x="832830" y="16833"/>
                    <a:pt x="827580" y="24619"/>
                  </a:cubicBezTo>
                  <a:cubicBezTo>
                    <a:pt x="821522" y="33569"/>
                    <a:pt x="816967" y="43746"/>
                    <a:pt x="812540" y="53584"/>
                  </a:cubicBezTo>
                  <a:cubicBezTo>
                    <a:pt x="810812" y="57412"/>
                    <a:pt x="809099" y="61257"/>
                    <a:pt x="807290" y="65037"/>
                  </a:cubicBezTo>
                  <a:cubicBezTo>
                    <a:pt x="793495" y="93856"/>
                    <a:pt x="774707" y="119574"/>
                    <a:pt x="751429" y="141479"/>
                  </a:cubicBezTo>
                  <a:cubicBezTo>
                    <a:pt x="749087" y="143692"/>
                    <a:pt x="746680" y="145873"/>
                    <a:pt x="744273" y="148037"/>
                  </a:cubicBezTo>
                  <a:cubicBezTo>
                    <a:pt x="735824" y="155694"/>
                    <a:pt x="727085" y="163626"/>
                    <a:pt x="720817" y="173108"/>
                  </a:cubicBezTo>
                  <a:cubicBezTo>
                    <a:pt x="719072" y="175741"/>
                    <a:pt x="717457" y="178617"/>
                    <a:pt x="715890" y="181379"/>
                  </a:cubicBezTo>
                  <a:cubicBezTo>
                    <a:pt x="712562" y="187259"/>
                    <a:pt x="709121" y="193317"/>
                    <a:pt x="704065" y="198212"/>
                  </a:cubicBezTo>
                  <a:cubicBezTo>
                    <a:pt x="695858" y="206160"/>
                    <a:pt x="684744" y="209730"/>
                    <a:pt x="674939" y="212880"/>
                  </a:cubicBezTo>
                  <a:cubicBezTo>
                    <a:pt x="631096" y="226999"/>
                    <a:pt x="585752" y="241602"/>
                    <a:pt x="538630" y="243848"/>
                  </a:cubicBezTo>
                  <a:cubicBezTo>
                    <a:pt x="531231" y="244203"/>
                    <a:pt x="522702" y="244284"/>
                    <a:pt x="515109" y="240730"/>
                  </a:cubicBezTo>
                  <a:cubicBezTo>
                    <a:pt x="508906" y="237822"/>
                    <a:pt x="504237" y="232943"/>
                    <a:pt x="499714" y="228226"/>
                  </a:cubicBezTo>
                  <a:cubicBezTo>
                    <a:pt x="498115" y="226546"/>
                    <a:pt x="496451" y="224818"/>
                    <a:pt x="494771" y="223235"/>
                  </a:cubicBezTo>
                  <a:cubicBezTo>
                    <a:pt x="481686" y="210893"/>
                    <a:pt x="463577" y="204286"/>
                    <a:pt x="447585" y="198454"/>
                  </a:cubicBezTo>
                  <a:cubicBezTo>
                    <a:pt x="438587" y="195175"/>
                    <a:pt x="429282" y="191782"/>
                    <a:pt x="419735" y="191411"/>
                  </a:cubicBezTo>
                  <a:cubicBezTo>
                    <a:pt x="411334" y="191088"/>
                    <a:pt x="402853" y="193139"/>
                    <a:pt x="394647" y="195126"/>
                  </a:cubicBezTo>
                  <a:lnTo>
                    <a:pt x="281826" y="222362"/>
                  </a:lnTo>
                  <a:cubicBezTo>
                    <a:pt x="276350" y="223687"/>
                    <a:pt x="270115" y="225173"/>
                    <a:pt x="263879" y="224818"/>
                  </a:cubicBezTo>
                  <a:cubicBezTo>
                    <a:pt x="258645" y="224511"/>
                    <a:pt x="253702" y="222928"/>
                    <a:pt x="248936" y="221409"/>
                  </a:cubicBezTo>
                  <a:lnTo>
                    <a:pt x="247951" y="221102"/>
                  </a:lnTo>
                  <a:cubicBezTo>
                    <a:pt x="218566" y="211781"/>
                    <a:pt x="190232" y="209391"/>
                    <a:pt x="160217" y="206887"/>
                  </a:cubicBezTo>
                  <a:cubicBezTo>
                    <a:pt x="147197" y="205788"/>
                    <a:pt x="133741" y="204657"/>
                    <a:pt x="120074" y="202929"/>
                  </a:cubicBezTo>
                  <a:cubicBezTo>
                    <a:pt x="91481" y="199278"/>
                    <a:pt x="60271" y="204140"/>
                    <a:pt x="27317" y="217371"/>
                  </a:cubicBezTo>
                  <a:cubicBezTo>
                    <a:pt x="18028" y="221102"/>
                    <a:pt x="8933" y="225416"/>
                    <a:pt x="0" y="230020"/>
                  </a:cubicBezTo>
                  <a:cubicBezTo>
                    <a:pt x="1131" y="231764"/>
                    <a:pt x="2859" y="233993"/>
                    <a:pt x="4572" y="236174"/>
                  </a:cubicBezTo>
                  <a:cubicBezTo>
                    <a:pt x="6785" y="239001"/>
                    <a:pt x="9289" y="242200"/>
                    <a:pt x="11292" y="245350"/>
                  </a:cubicBezTo>
                  <a:lnTo>
                    <a:pt x="11163" y="2453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5" name="Free-form: Shape 374">
              <a:extLst>
                <a:ext uri="{FF2B5EF4-FFF2-40B4-BE49-F238E27FC236}">
                  <a16:creationId xmlns:a16="http://schemas.microsoft.com/office/drawing/2014/main" id="{A05E6D0C-6B4C-E088-7BDE-331D3D51A8D4}"/>
                </a:ext>
              </a:extLst>
            </p:cNvPr>
            <p:cNvSpPr/>
            <p:nvPr/>
          </p:nvSpPr>
          <p:spPr>
            <a:xfrm>
              <a:off x="6056147" y="2711988"/>
              <a:ext cx="890565" cy="1064969"/>
            </a:xfrm>
            <a:custGeom>
              <a:avLst/>
              <a:gdLst>
                <a:gd name="connsiteX0" fmla="*/ 814237 w 890565"/>
                <a:gd name="connsiteY0" fmla="*/ 256647 h 1064969"/>
                <a:gd name="connsiteX1" fmla="*/ 815319 w 890565"/>
                <a:gd name="connsiteY1" fmla="*/ 256324 h 1064969"/>
                <a:gd name="connsiteX2" fmla="*/ 875526 w 890565"/>
                <a:gd name="connsiteY2" fmla="*/ 201739 h 1064969"/>
                <a:gd name="connsiteX3" fmla="*/ 877206 w 890565"/>
                <a:gd name="connsiteY3" fmla="*/ 197523 h 1064969"/>
                <a:gd name="connsiteX4" fmla="*/ 890565 w 890565"/>
                <a:gd name="connsiteY4" fmla="*/ 176312 h 1064969"/>
                <a:gd name="connsiteX5" fmla="*/ 806854 w 890565"/>
                <a:gd name="connsiteY5" fmla="*/ 136541 h 1064969"/>
                <a:gd name="connsiteX6" fmla="*/ 760766 w 890565"/>
                <a:gd name="connsiteY6" fmla="*/ 121549 h 1064969"/>
                <a:gd name="connsiteX7" fmla="*/ 724500 w 890565"/>
                <a:gd name="connsiteY7" fmla="*/ 114280 h 1064969"/>
                <a:gd name="connsiteX8" fmla="*/ 720106 w 890565"/>
                <a:gd name="connsiteY8" fmla="*/ 114506 h 1064969"/>
                <a:gd name="connsiteX9" fmla="*/ 689268 w 890565"/>
                <a:gd name="connsiteY9" fmla="*/ 104410 h 1064969"/>
                <a:gd name="connsiteX10" fmla="*/ 694776 w 890565"/>
                <a:gd name="connsiteY10" fmla="*/ 81503 h 1064969"/>
                <a:gd name="connsiteX11" fmla="*/ 700139 w 890565"/>
                <a:gd name="connsiteY11" fmla="*/ 71229 h 1064969"/>
                <a:gd name="connsiteX12" fmla="*/ 672823 w 890565"/>
                <a:gd name="connsiteY12" fmla="*/ 33606 h 1064969"/>
                <a:gd name="connsiteX13" fmla="*/ 583021 w 890565"/>
                <a:gd name="connsiteY13" fmla="*/ 36207 h 1064969"/>
                <a:gd name="connsiteX14" fmla="*/ 570421 w 890565"/>
                <a:gd name="connsiteY14" fmla="*/ 41521 h 1064969"/>
                <a:gd name="connsiteX15" fmla="*/ 568305 w 890565"/>
                <a:gd name="connsiteY15" fmla="*/ 44348 h 1064969"/>
                <a:gd name="connsiteX16" fmla="*/ 562974 w 890565"/>
                <a:gd name="connsiteY16" fmla="*/ 50051 h 1064969"/>
                <a:gd name="connsiteX17" fmla="*/ 548161 w 890565"/>
                <a:gd name="connsiteY17" fmla="*/ 49825 h 1064969"/>
                <a:gd name="connsiteX18" fmla="*/ 494868 w 890565"/>
                <a:gd name="connsiteY18" fmla="*/ 17726 h 1064969"/>
                <a:gd name="connsiteX19" fmla="*/ 491960 w 890565"/>
                <a:gd name="connsiteY19" fmla="*/ 13090 h 1064969"/>
                <a:gd name="connsiteX20" fmla="*/ 484691 w 890565"/>
                <a:gd name="connsiteY20" fmla="*/ 3527 h 1064969"/>
                <a:gd name="connsiteX21" fmla="*/ 470701 w 890565"/>
                <a:gd name="connsiteY21" fmla="*/ 328 h 1064969"/>
                <a:gd name="connsiteX22" fmla="*/ 452043 w 890565"/>
                <a:gd name="connsiteY22" fmla="*/ 13171 h 1064969"/>
                <a:gd name="connsiteX23" fmla="*/ 445533 w 890565"/>
                <a:gd name="connsiteY23" fmla="*/ 54057 h 1064969"/>
                <a:gd name="connsiteX24" fmla="*/ 437504 w 890565"/>
                <a:gd name="connsiteY24" fmla="*/ 97948 h 1064969"/>
                <a:gd name="connsiteX25" fmla="*/ 434128 w 890565"/>
                <a:gd name="connsiteY25" fmla="*/ 99127 h 1064969"/>
                <a:gd name="connsiteX26" fmla="*/ 400560 w 890565"/>
                <a:gd name="connsiteY26" fmla="*/ 95622 h 1064969"/>
                <a:gd name="connsiteX27" fmla="*/ 354633 w 890565"/>
                <a:gd name="connsiteY27" fmla="*/ 85832 h 1064969"/>
                <a:gd name="connsiteX28" fmla="*/ 339981 w 890565"/>
                <a:gd name="connsiteY28" fmla="*/ 69791 h 1064969"/>
                <a:gd name="connsiteX29" fmla="*/ 322454 w 890565"/>
                <a:gd name="connsiteY29" fmla="*/ 46335 h 1064969"/>
                <a:gd name="connsiteX30" fmla="*/ 285154 w 890565"/>
                <a:gd name="connsiteY30" fmla="*/ 65349 h 1064969"/>
                <a:gd name="connsiteX31" fmla="*/ 275219 w 890565"/>
                <a:gd name="connsiteY31" fmla="*/ 67594 h 1064969"/>
                <a:gd name="connsiteX32" fmla="*/ 220246 w 890565"/>
                <a:gd name="connsiteY32" fmla="*/ 115120 h 1064969"/>
                <a:gd name="connsiteX33" fmla="*/ 184675 w 890565"/>
                <a:gd name="connsiteY33" fmla="*/ 144553 h 1064969"/>
                <a:gd name="connsiteX34" fmla="*/ 169603 w 890565"/>
                <a:gd name="connsiteY34" fmla="*/ 141322 h 1064969"/>
                <a:gd name="connsiteX35" fmla="*/ 154951 w 890565"/>
                <a:gd name="connsiteY35" fmla="*/ 138527 h 1064969"/>
                <a:gd name="connsiteX36" fmla="*/ 142157 w 890565"/>
                <a:gd name="connsiteY36" fmla="*/ 144327 h 1064969"/>
                <a:gd name="connsiteX37" fmla="*/ 116133 w 890565"/>
                <a:gd name="connsiteY37" fmla="*/ 167977 h 1064969"/>
                <a:gd name="connsiteX38" fmla="*/ 74196 w 890565"/>
                <a:gd name="connsiteY38" fmla="*/ 200544 h 1064969"/>
                <a:gd name="connsiteX39" fmla="*/ 71159 w 890565"/>
                <a:gd name="connsiteY39" fmla="*/ 201739 h 1064969"/>
                <a:gd name="connsiteX40" fmla="*/ 57622 w 890565"/>
                <a:gd name="connsiteY40" fmla="*/ 210591 h 1064969"/>
                <a:gd name="connsiteX41" fmla="*/ 56136 w 890565"/>
                <a:gd name="connsiteY41" fmla="*/ 214888 h 1064969"/>
                <a:gd name="connsiteX42" fmla="*/ 54779 w 890565"/>
                <a:gd name="connsiteY42" fmla="*/ 219121 h 1064969"/>
                <a:gd name="connsiteX43" fmla="*/ 34247 w 890565"/>
                <a:gd name="connsiteY43" fmla="*/ 235259 h 1064969"/>
                <a:gd name="connsiteX44" fmla="*/ 28787 w 890565"/>
                <a:gd name="connsiteY44" fmla="*/ 237747 h 1064969"/>
                <a:gd name="connsiteX45" fmla="*/ 0 w 890565"/>
                <a:gd name="connsiteY45" fmla="*/ 269942 h 1064969"/>
                <a:gd name="connsiteX46" fmla="*/ 3473 w 890565"/>
                <a:gd name="connsiteY46" fmla="*/ 274594 h 1064969"/>
                <a:gd name="connsiteX47" fmla="*/ 42841 w 890565"/>
                <a:gd name="connsiteY47" fmla="*/ 349227 h 1064969"/>
                <a:gd name="connsiteX48" fmla="*/ 16703 w 890565"/>
                <a:gd name="connsiteY48" fmla="*/ 438802 h 1064969"/>
                <a:gd name="connsiteX49" fmla="*/ 15427 w 890565"/>
                <a:gd name="connsiteY49" fmla="*/ 439917 h 1064969"/>
                <a:gd name="connsiteX50" fmla="*/ 9741 w 890565"/>
                <a:gd name="connsiteY50" fmla="*/ 446152 h 1064969"/>
                <a:gd name="connsiteX51" fmla="*/ 10032 w 890565"/>
                <a:gd name="connsiteY51" fmla="*/ 463112 h 1064969"/>
                <a:gd name="connsiteX52" fmla="*/ 19110 w 890565"/>
                <a:gd name="connsiteY52" fmla="*/ 533302 h 1064969"/>
                <a:gd name="connsiteX53" fmla="*/ 41048 w 890565"/>
                <a:gd name="connsiteY53" fmla="*/ 593137 h 1064969"/>
                <a:gd name="connsiteX54" fmla="*/ 61693 w 890565"/>
                <a:gd name="connsiteY54" fmla="*/ 596595 h 1064969"/>
                <a:gd name="connsiteX55" fmla="*/ 87184 w 890565"/>
                <a:gd name="connsiteY55" fmla="*/ 602087 h 1064969"/>
                <a:gd name="connsiteX56" fmla="*/ 105083 w 890565"/>
                <a:gd name="connsiteY56" fmla="*/ 624735 h 1064969"/>
                <a:gd name="connsiteX57" fmla="*/ 108411 w 890565"/>
                <a:gd name="connsiteY57" fmla="*/ 630842 h 1064969"/>
                <a:gd name="connsiteX58" fmla="*/ 132497 w 890565"/>
                <a:gd name="connsiteY58" fmla="*/ 647400 h 1064969"/>
                <a:gd name="connsiteX59" fmla="*/ 134936 w 890565"/>
                <a:gd name="connsiteY59" fmla="*/ 648094 h 1064969"/>
                <a:gd name="connsiteX60" fmla="*/ 135905 w 890565"/>
                <a:gd name="connsiteY60" fmla="*/ 650437 h 1064969"/>
                <a:gd name="connsiteX61" fmla="*/ 138070 w 890565"/>
                <a:gd name="connsiteY61" fmla="*/ 672584 h 1064969"/>
                <a:gd name="connsiteX62" fmla="*/ 153740 w 890565"/>
                <a:gd name="connsiteY62" fmla="*/ 681162 h 1064969"/>
                <a:gd name="connsiteX63" fmla="*/ 156405 w 890565"/>
                <a:gd name="connsiteY63" fmla="*/ 681533 h 1064969"/>
                <a:gd name="connsiteX64" fmla="*/ 157617 w 890565"/>
                <a:gd name="connsiteY64" fmla="*/ 683940 h 1064969"/>
                <a:gd name="connsiteX65" fmla="*/ 138861 w 890565"/>
                <a:gd name="connsiteY65" fmla="*/ 754340 h 1064969"/>
                <a:gd name="connsiteX66" fmla="*/ 120898 w 890565"/>
                <a:gd name="connsiteY66" fmla="*/ 829377 h 1064969"/>
                <a:gd name="connsiteX67" fmla="*/ 121431 w 890565"/>
                <a:gd name="connsiteY67" fmla="*/ 832091 h 1064969"/>
                <a:gd name="connsiteX68" fmla="*/ 129395 w 890565"/>
                <a:gd name="connsiteY68" fmla="*/ 833932 h 1064969"/>
                <a:gd name="connsiteX69" fmla="*/ 169878 w 890565"/>
                <a:gd name="connsiteY69" fmla="*/ 852946 h 1064969"/>
                <a:gd name="connsiteX70" fmla="*/ 184093 w 890565"/>
                <a:gd name="connsiteY70" fmla="*/ 895351 h 1064969"/>
                <a:gd name="connsiteX71" fmla="*/ 183657 w 890565"/>
                <a:gd name="connsiteY71" fmla="*/ 898614 h 1064969"/>
                <a:gd name="connsiteX72" fmla="*/ 187066 w 890565"/>
                <a:gd name="connsiteY72" fmla="*/ 919776 h 1064969"/>
                <a:gd name="connsiteX73" fmla="*/ 191977 w 890565"/>
                <a:gd name="connsiteY73" fmla="*/ 921763 h 1064969"/>
                <a:gd name="connsiteX74" fmla="*/ 202121 w 890565"/>
                <a:gd name="connsiteY74" fmla="*/ 930647 h 1064969"/>
                <a:gd name="connsiteX75" fmla="*/ 198955 w 890565"/>
                <a:gd name="connsiteY75" fmla="*/ 938983 h 1064969"/>
                <a:gd name="connsiteX76" fmla="*/ 197857 w 890565"/>
                <a:gd name="connsiteY76" fmla="*/ 940582 h 1064969"/>
                <a:gd name="connsiteX77" fmla="*/ 205272 w 890565"/>
                <a:gd name="connsiteY77" fmla="*/ 969191 h 1064969"/>
                <a:gd name="connsiteX78" fmla="*/ 212880 w 890565"/>
                <a:gd name="connsiteY78" fmla="*/ 976267 h 1064969"/>
                <a:gd name="connsiteX79" fmla="*/ 225222 w 890565"/>
                <a:gd name="connsiteY79" fmla="*/ 994424 h 1064969"/>
                <a:gd name="connsiteX80" fmla="*/ 225222 w 890565"/>
                <a:gd name="connsiteY80" fmla="*/ 994586 h 1064969"/>
                <a:gd name="connsiteX81" fmla="*/ 239228 w 890565"/>
                <a:gd name="connsiteY81" fmla="*/ 1002421 h 1064969"/>
                <a:gd name="connsiteX82" fmla="*/ 276722 w 890565"/>
                <a:gd name="connsiteY82" fmla="*/ 1027783 h 1064969"/>
                <a:gd name="connsiteX83" fmla="*/ 285057 w 890565"/>
                <a:gd name="connsiteY83" fmla="*/ 1036926 h 1064969"/>
                <a:gd name="connsiteX84" fmla="*/ 316412 w 890565"/>
                <a:gd name="connsiteY84" fmla="*/ 1057862 h 1064969"/>
                <a:gd name="connsiteX85" fmla="*/ 330887 w 890565"/>
                <a:gd name="connsiteY85" fmla="*/ 1054211 h 1064969"/>
                <a:gd name="connsiteX86" fmla="*/ 356071 w 890565"/>
                <a:gd name="connsiteY86" fmla="*/ 1052757 h 1064969"/>
                <a:gd name="connsiteX87" fmla="*/ 365457 w 890565"/>
                <a:gd name="connsiteY87" fmla="*/ 1064970 h 1064969"/>
                <a:gd name="connsiteX88" fmla="*/ 448877 w 890565"/>
                <a:gd name="connsiteY88" fmla="*/ 940566 h 1064969"/>
                <a:gd name="connsiteX89" fmla="*/ 449103 w 890565"/>
                <a:gd name="connsiteY89" fmla="*/ 939145 h 1064969"/>
                <a:gd name="connsiteX90" fmla="*/ 456292 w 890565"/>
                <a:gd name="connsiteY90" fmla="*/ 919081 h 1064969"/>
                <a:gd name="connsiteX91" fmla="*/ 476662 w 890565"/>
                <a:gd name="connsiteY91" fmla="*/ 908872 h 1064969"/>
                <a:gd name="connsiteX92" fmla="*/ 481831 w 890565"/>
                <a:gd name="connsiteY92" fmla="*/ 907401 h 1064969"/>
                <a:gd name="connsiteX93" fmla="*/ 496871 w 890565"/>
                <a:gd name="connsiteY93" fmla="*/ 892378 h 1064969"/>
                <a:gd name="connsiteX94" fmla="*/ 492219 w 890565"/>
                <a:gd name="connsiteY94" fmla="*/ 882799 h 1064969"/>
                <a:gd name="connsiteX95" fmla="*/ 489860 w 890565"/>
                <a:gd name="connsiteY95" fmla="*/ 879293 h 1064969"/>
                <a:gd name="connsiteX96" fmla="*/ 490555 w 890565"/>
                <a:gd name="connsiteY96" fmla="*/ 837938 h 1064969"/>
                <a:gd name="connsiteX97" fmla="*/ 467196 w 890565"/>
                <a:gd name="connsiteY97" fmla="*/ 841767 h 1064969"/>
                <a:gd name="connsiteX98" fmla="*/ 438377 w 890565"/>
                <a:gd name="connsiteY98" fmla="*/ 845967 h 1064969"/>
                <a:gd name="connsiteX99" fmla="*/ 419395 w 890565"/>
                <a:gd name="connsiteY99" fmla="*/ 827358 h 1064969"/>
                <a:gd name="connsiteX100" fmla="*/ 411334 w 890565"/>
                <a:gd name="connsiteY100" fmla="*/ 816260 h 1064969"/>
                <a:gd name="connsiteX101" fmla="*/ 402062 w 890565"/>
                <a:gd name="connsiteY101" fmla="*/ 808602 h 1064969"/>
                <a:gd name="connsiteX102" fmla="*/ 391529 w 890565"/>
                <a:gd name="connsiteY102" fmla="*/ 799750 h 1064969"/>
                <a:gd name="connsiteX103" fmla="*/ 382968 w 890565"/>
                <a:gd name="connsiteY103" fmla="*/ 739850 h 1064969"/>
                <a:gd name="connsiteX104" fmla="*/ 384034 w 890565"/>
                <a:gd name="connsiteY104" fmla="*/ 731628 h 1064969"/>
                <a:gd name="connsiteX105" fmla="*/ 380803 w 890565"/>
                <a:gd name="connsiteY105" fmla="*/ 669918 h 1064969"/>
                <a:gd name="connsiteX106" fmla="*/ 380625 w 890565"/>
                <a:gd name="connsiteY106" fmla="*/ 669143 h 1064969"/>
                <a:gd name="connsiteX107" fmla="*/ 379349 w 890565"/>
                <a:gd name="connsiteY107" fmla="*/ 658320 h 1064969"/>
                <a:gd name="connsiteX108" fmla="*/ 397652 w 890565"/>
                <a:gd name="connsiteY108" fmla="*/ 635365 h 1064969"/>
                <a:gd name="connsiteX109" fmla="*/ 413855 w 890565"/>
                <a:gd name="connsiteY109" fmla="*/ 617805 h 1064969"/>
                <a:gd name="connsiteX110" fmla="*/ 411512 w 890565"/>
                <a:gd name="connsiteY110" fmla="*/ 606400 h 1064969"/>
                <a:gd name="connsiteX111" fmla="*/ 401836 w 890565"/>
                <a:gd name="connsiteY111" fmla="*/ 599922 h 1064969"/>
                <a:gd name="connsiteX112" fmla="*/ 393371 w 890565"/>
                <a:gd name="connsiteY112" fmla="*/ 599664 h 1064969"/>
                <a:gd name="connsiteX113" fmla="*/ 373954 w 890565"/>
                <a:gd name="connsiteY113" fmla="*/ 591474 h 1064969"/>
                <a:gd name="connsiteX114" fmla="*/ 373534 w 890565"/>
                <a:gd name="connsiteY114" fmla="*/ 585690 h 1064969"/>
                <a:gd name="connsiteX115" fmla="*/ 373582 w 890565"/>
                <a:gd name="connsiteY115" fmla="*/ 583623 h 1064969"/>
                <a:gd name="connsiteX116" fmla="*/ 361127 w 890565"/>
                <a:gd name="connsiteY116" fmla="*/ 568179 h 1064969"/>
                <a:gd name="connsiteX117" fmla="*/ 338221 w 890565"/>
                <a:gd name="connsiteY117" fmla="*/ 565223 h 1064969"/>
                <a:gd name="connsiteX118" fmla="*/ 335329 w 890565"/>
                <a:gd name="connsiteY118" fmla="*/ 562525 h 1064969"/>
                <a:gd name="connsiteX119" fmla="*/ 350207 w 890565"/>
                <a:gd name="connsiteY119" fmla="*/ 535548 h 1064969"/>
                <a:gd name="connsiteX120" fmla="*/ 364390 w 890565"/>
                <a:gd name="connsiteY120" fmla="*/ 526954 h 1064969"/>
                <a:gd name="connsiteX121" fmla="*/ 375456 w 890565"/>
                <a:gd name="connsiteY121" fmla="*/ 520508 h 1064969"/>
                <a:gd name="connsiteX122" fmla="*/ 399526 w 890565"/>
                <a:gd name="connsiteY122" fmla="*/ 498038 h 1064969"/>
                <a:gd name="connsiteX123" fmla="*/ 435162 w 890565"/>
                <a:gd name="connsiteY123" fmla="*/ 469219 h 1064969"/>
                <a:gd name="connsiteX124" fmla="*/ 483641 w 890565"/>
                <a:gd name="connsiteY124" fmla="*/ 465891 h 1064969"/>
                <a:gd name="connsiteX125" fmla="*/ 520828 w 890565"/>
                <a:gd name="connsiteY125" fmla="*/ 465729 h 1064969"/>
                <a:gd name="connsiteX126" fmla="*/ 534898 w 890565"/>
                <a:gd name="connsiteY126" fmla="*/ 459463 h 1064969"/>
                <a:gd name="connsiteX127" fmla="*/ 528759 w 890565"/>
                <a:gd name="connsiteY127" fmla="*/ 411162 h 1064969"/>
                <a:gd name="connsiteX128" fmla="*/ 519907 w 890565"/>
                <a:gd name="connsiteY128" fmla="*/ 355365 h 1064969"/>
                <a:gd name="connsiteX129" fmla="*/ 549938 w 890565"/>
                <a:gd name="connsiteY129" fmla="*/ 345721 h 1064969"/>
                <a:gd name="connsiteX130" fmla="*/ 575267 w 890565"/>
                <a:gd name="connsiteY130" fmla="*/ 354057 h 1064969"/>
                <a:gd name="connsiteX131" fmla="*/ 578967 w 890565"/>
                <a:gd name="connsiteY131" fmla="*/ 355656 h 1064969"/>
                <a:gd name="connsiteX132" fmla="*/ 636088 w 890565"/>
                <a:gd name="connsiteY132" fmla="*/ 355834 h 1064969"/>
                <a:gd name="connsiteX133" fmla="*/ 643923 w 890565"/>
                <a:gd name="connsiteY133" fmla="*/ 346707 h 1064969"/>
                <a:gd name="connsiteX134" fmla="*/ 651612 w 890565"/>
                <a:gd name="connsiteY134" fmla="*/ 337564 h 1064969"/>
                <a:gd name="connsiteX135" fmla="*/ 675100 w 890565"/>
                <a:gd name="connsiteY135" fmla="*/ 329616 h 1064969"/>
                <a:gd name="connsiteX136" fmla="*/ 710947 w 890565"/>
                <a:gd name="connsiteY136" fmla="*/ 346949 h 1064969"/>
                <a:gd name="connsiteX137" fmla="*/ 790296 w 890565"/>
                <a:gd name="connsiteY137" fmla="*/ 366383 h 1064969"/>
                <a:gd name="connsiteX138" fmla="*/ 819018 w 890565"/>
                <a:gd name="connsiteY138" fmla="*/ 342151 h 1064969"/>
                <a:gd name="connsiteX139" fmla="*/ 818598 w 890565"/>
                <a:gd name="connsiteY139" fmla="*/ 306434 h 1064969"/>
                <a:gd name="connsiteX140" fmla="*/ 811006 w 890565"/>
                <a:gd name="connsiteY140" fmla="*/ 297307 h 1064969"/>
                <a:gd name="connsiteX141" fmla="*/ 803139 w 890565"/>
                <a:gd name="connsiteY141" fmla="*/ 287938 h 1064969"/>
                <a:gd name="connsiteX142" fmla="*/ 803300 w 890565"/>
                <a:gd name="connsiteY142" fmla="*/ 261978 h 1064969"/>
                <a:gd name="connsiteX143" fmla="*/ 814350 w 890565"/>
                <a:gd name="connsiteY143" fmla="*/ 256615 h 1064969"/>
                <a:gd name="connsiteX144" fmla="*/ 814237 w 890565"/>
                <a:gd name="connsiteY144" fmla="*/ 256647 h 106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890565" h="1064969">
                  <a:moveTo>
                    <a:pt x="814237" y="256647"/>
                  </a:moveTo>
                  <a:lnTo>
                    <a:pt x="815319" y="256324"/>
                  </a:lnTo>
                  <a:cubicBezTo>
                    <a:pt x="842264" y="248166"/>
                    <a:pt x="864783" y="227779"/>
                    <a:pt x="875526" y="201739"/>
                  </a:cubicBezTo>
                  <a:cubicBezTo>
                    <a:pt x="876091" y="200366"/>
                    <a:pt x="876640" y="198944"/>
                    <a:pt x="877206" y="197523"/>
                  </a:cubicBezTo>
                  <a:cubicBezTo>
                    <a:pt x="880307" y="189575"/>
                    <a:pt x="883570" y="181417"/>
                    <a:pt x="890565" y="176312"/>
                  </a:cubicBezTo>
                  <a:cubicBezTo>
                    <a:pt x="866609" y="156023"/>
                    <a:pt x="834930" y="145668"/>
                    <a:pt x="806854" y="136541"/>
                  </a:cubicBezTo>
                  <a:lnTo>
                    <a:pt x="760766" y="121549"/>
                  </a:lnTo>
                  <a:cubicBezTo>
                    <a:pt x="749022" y="117737"/>
                    <a:pt x="736890" y="113779"/>
                    <a:pt x="724500" y="114280"/>
                  </a:cubicBezTo>
                  <a:cubicBezTo>
                    <a:pt x="723078" y="114345"/>
                    <a:pt x="721608" y="114425"/>
                    <a:pt x="720106" y="114506"/>
                  </a:cubicBezTo>
                  <a:cubicBezTo>
                    <a:pt x="708556" y="115185"/>
                    <a:pt x="694146" y="116025"/>
                    <a:pt x="689268" y="104410"/>
                  </a:cubicBezTo>
                  <a:cubicBezTo>
                    <a:pt x="685794" y="96155"/>
                    <a:pt x="690366" y="88708"/>
                    <a:pt x="694776" y="81503"/>
                  </a:cubicBezTo>
                  <a:cubicBezTo>
                    <a:pt x="696844" y="78127"/>
                    <a:pt x="698993" y="74638"/>
                    <a:pt x="700139" y="71229"/>
                  </a:cubicBezTo>
                  <a:cubicBezTo>
                    <a:pt x="705373" y="55640"/>
                    <a:pt x="690043" y="39567"/>
                    <a:pt x="672823" y="33606"/>
                  </a:cubicBezTo>
                  <a:cubicBezTo>
                    <a:pt x="643584" y="23477"/>
                    <a:pt x="609999" y="30537"/>
                    <a:pt x="583021" y="36207"/>
                  </a:cubicBezTo>
                  <a:cubicBezTo>
                    <a:pt x="577804" y="37305"/>
                    <a:pt x="573248" y="38468"/>
                    <a:pt x="570421" y="41521"/>
                  </a:cubicBezTo>
                  <a:cubicBezTo>
                    <a:pt x="569678" y="42329"/>
                    <a:pt x="569016" y="43315"/>
                    <a:pt x="568305" y="44348"/>
                  </a:cubicBezTo>
                  <a:cubicBezTo>
                    <a:pt x="566964" y="46335"/>
                    <a:pt x="565429" y="48581"/>
                    <a:pt x="562974" y="50051"/>
                  </a:cubicBezTo>
                  <a:cubicBezTo>
                    <a:pt x="558273" y="52829"/>
                    <a:pt x="552861" y="51392"/>
                    <a:pt x="548161" y="49825"/>
                  </a:cubicBezTo>
                  <a:cubicBezTo>
                    <a:pt x="530973" y="44074"/>
                    <a:pt x="507420" y="36207"/>
                    <a:pt x="494868" y="17726"/>
                  </a:cubicBezTo>
                  <a:cubicBezTo>
                    <a:pt x="493850" y="16224"/>
                    <a:pt x="492913" y="14657"/>
                    <a:pt x="491960" y="13090"/>
                  </a:cubicBezTo>
                  <a:cubicBezTo>
                    <a:pt x="489763" y="9423"/>
                    <a:pt x="487679" y="5982"/>
                    <a:pt x="484691" y="3527"/>
                  </a:cubicBezTo>
                  <a:cubicBezTo>
                    <a:pt x="479990" y="-318"/>
                    <a:pt x="474481" y="-334"/>
                    <a:pt x="470701" y="328"/>
                  </a:cubicBezTo>
                  <a:cubicBezTo>
                    <a:pt x="463254" y="1637"/>
                    <a:pt x="455936" y="6677"/>
                    <a:pt x="452043" y="13171"/>
                  </a:cubicBezTo>
                  <a:cubicBezTo>
                    <a:pt x="444887" y="25141"/>
                    <a:pt x="445226" y="40504"/>
                    <a:pt x="445533" y="54057"/>
                  </a:cubicBezTo>
                  <a:cubicBezTo>
                    <a:pt x="445888" y="70034"/>
                    <a:pt x="445549" y="85412"/>
                    <a:pt x="437504" y="97948"/>
                  </a:cubicBezTo>
                  <a:cubicBezTo>
                    <a:pt x="436777" y="99079"/>
                    <a:pt x="435388" y="99547"/>
                    <a:pt x="434128" y="99127"/>
                  </a:cubicBezTo>
                  <a:cubicBezTo>
                    <a:pt x="423757" y="95590"/>
                    <a:pt x="411981" y="95590"/>
                    <a:pt x="400560" y="95622"/>
                  </a:cubicBezTo>
                  <a:cubicBezTo>
                    <a:pt x="384470" y="95638"/>
                    <a:pt x="367864" y="95670"/>
                    <a:pt x="354633" y="85832"/>
                  </a:cubicBezTo>
                  <a:cubicBezTo>
                    <a:pt x="348640" y="81374"/>
                    <a:pt x="344230" y="75494"/>
                    <a:pt x="339981" y="69791"/>
                  </a:cubicBezTo>
                  <a:lnTo>
                    <a:pt x="322454" y="46335"/>
                  </a:lnTo>
                  <a:cubicBezTo>
                    <a:pt x="312115" y="59598"/>
                    <a:pt x="299014" y="62409"/>
                    <a:pt x="285154" y="65349"/>
                  </a:cubicBezTo>
                  <a:cubicBezTo>
                    <a:pt x="281923" y="66027"/>
                    <a:pt x="278595" y="66738"/>
                    <a:pt x="275219" y="67594"/>
                  </a:cubicBezTo>
                  <a:cubicBezTo>
                    <a:pt x="255333" y="72618"/>
                    <a:pt x="237354" y="88159"/>
                    <a:pt x="220246" y="115120"/>
                  </a:cubicBezTo>
                  <a:cubicBezTo>
                    <a:pt x="212412" y="127462"/>
                    <a:pt x="201685" y="144359"/>
                    <a:pt x="184675" y="144553"/>
                  </a:cubicBezTo>
                  <a:cubicBezTo>
                    <a:pt x="179312" y="144601"/>
                    <a:pt x="174401" y="142938"/>
                    <a:pt x="169603" y="141322"/>
                  </a:cubicBezTo>
                  <a:cubicBezTo>
                    <a:pt x="164531" y="139610"/>
                    <a:pt x="159733" y="137994"/>
                    <a:pt x="154951" y="138527"/>
                  </a:cubicBezTo>
                  <a:cubicBezTo>
                    <a:pt x="150137" y="139077"/>
                    <a:pt x="145582" y="141904"/>
                    <a:pt x="142157" y="144327"/>
                  </a:cubicBezTo>
                  <a:cubicBezTo>
                    <a:pt x="132707" y="150982"/>
                    <a:pt x="124274" y="159625"/>
                    <a:pt x="116133" y="167977"/>
                  </a:cubicBezTo>
                  <a:cubicBezTo>
                    <a:pt x="103775" y="180642"/>
                    <a:pt x="90997" y="193726"/>
                    <a:pt x="74196" y="200544"/>
                  </a:cubicBezTo>
                  <a:cubicBezTo>
                    <a:pt x="73211" y="200947"/>
                    <a:pt x="72193" y="201335"/>
                    <a:pt x="71159" y="201739"/>
                  </a:cubicBezTo>
                  <a:cubicBezTo>
                    <a:pt x="65408" y="203952"/>
                    <a:pt x="59964" y="206036"/>
                    <a:pt x="57622" y="210591"/>
                  </a:cubicBezTo>
                  <a:cubicBezTo>
                    <a:pt x="56976" y="211851"/>
                    <a:pt x="56572" y="213338"/>
                    <a:pt x="56136" y="214888"/>
                  </a:cubicBezTo>
                  <a:cubicBezTo>
                    <a:pt x="55764" y="216262"/>
                    <a:pt x="55377" y="217699"/>
                    <a:pt x="54779" y="219121"/>
                  </a:cubicBezTo>
                  <a:cubicBezTo>
                    <a:pt x="51160" y="227812"/>
                    <a:pt x="42179" y="231770"/>
                    <a:pt x="34247" y="235259"/>
                  </a:cubicBezTo>
                  <a:cubicBezTo>
                    <a:pt x="32389" y="236083"/>
                    <a:pt x="30548" y="236890"/>
                    <a:pt x="28787" y="237747"/>
                  </a:cubicBezTo>
                  <a:cubicBezTo>
                    <a:pt x="15637" y="244192"/>
                    <a:pt x="4975" y="256146"/>
                    <a:pt x="0" y="269942"/>
                  </a:cubicBezTo>
                  <a:cubicBezTo>
                    <a:pt x="1163" y="271493"/>
                    <a:pt x="2326" y="273044"/>
                    <a:pt x="3473" y="274594"/>
                  </a:cubicBezTo>
                  <a:cubicBezTo>
                    <a:pt x="20968" y="297937"/>
                    <a:pt x="37494" y="319972"/>
                    <a:pt x="42841" y="349227"/>
                  </a:cubicBezTo>
                  <a:cubicBezTo>
                    <a:pt x="49254" y="384314"/>
                    <a:pt x="39239" y="418641"/>
                    <a:pt x="16703" y="438802"/>
                  </a:cubicBezTo>
                  <a:lnTo>
                    <a:pt x="15427" y="439917"/>
                  </a:lnTo>
                  <a:cubicBezTo>
                    <a:pt x="13149" y="441920"/>
                    <a:pt x="10985" y="443810"/>
                    <a:pt x="9741" y="446152"/>
                  </a:cubicBezTo>
                  <a:cubicBezTo>
                    <a:pt x="7189" y="450966"/>
                    <a:pt x="8691" y="457428"/>
                    <a:pt x="10032" y="463112"/>
                  </a:cubicBezTo>
                  <a:cubicBezTo>
                    <a:pt x="15411" y="486100"/>
                    <a:pt x="18464" y="509701"/>
                    <a:pt x="19110" y="533302"/>
                  </a:cubicBezTo>
                  <a:cubicBezTo>
                    <a:pt x="19805" y="558907"/>
                    <a:pt x="22067" y="584624"/>
                    <a:pt x="41048" y="593137"/>
                  </a:cubicBezTo>
                  <a:cubicBezTo>
                    <a:pt x="47251" y="595916"/>
                    <a:pt x="54262" y="596239"/>
                    <a:pt x="61693" y="596595"/>
                  </a:cubicBezTo>
                  <a:cubicBezTo>
                    <a:pt x="70400" y="596998"/>
                    <a:pt x="79382" y="597418"/>
                    <a:pt x="87184" y="602087"/>
                  </a:cubicBezTo>
                  <a:cubicBezTo>
                    <a:pt x="95811" y="607256"/>
                    <a:pt x="100528" y="616141"/>
                    <a:pt x="105083" y="624735"/>
                  </a:cubicBezTo>
                  <a:cubicBezTo>
                    <a:pt x="106182" y="626787"/>
                    <a:pt x="107264" y="628855"/>
                    <a:pt x="108411" y="630842"/>
                  </a:cubicBezTo>
                  <a:cubicBezTo>
                    <a:pt x="113661" y="639985"/>
                    <a:pt x="122723" y="649144"/>
                    <a:pt x="132497" y="647400"/>
                  </a:cubicBezTo>
                  <a:cubicBezTo>
                    <a:pt x="133369" y="647254"/>
                    <a:pt x="134274" y="647496"/>
                    <a:pt x="134936" y="648094"/>
                  </a:cubicBezTo>
                  <a:cubicBezTo>
                    <a:pt x="135598" y="648692"/>
                    <a:pt x="135954" y="649548"/>
                    <a:pt x="135905" y="650437"/>
                  </a:cubicBezTo>
                  <a:cubicBezTo>
                    <a:pt x="135453" y="657657"/>
                    <a:pt x="134952" y="665831"/>
                    <a:pt x="138070" y="672584"/>
                  </a:cubicBezTo>
                  <a:cubicBezTo>
                    <a:pt x="140784" y="678480"/>
                    <a:pt x="147730" y="683327"/>
                    <a:pt x="153740" y="681162"/>
                  </a:cubicBezTo>
                  <a:cubicBezTo>
                    <a:pt x="154644" y="680839"/>
                    <a:pt x="155630" y="680984"/>
                    <a:pt x="156405" y="681533"/>
                  </a:cubicBezTo>
                  <a:cubicBezTo>
                    <a:pt x="157180" y="682083"/>
                    <a:pt x="157633" y="682987"/>
                    <a:pt x="157617" y="683940"/>
                  </a:cubicBezTo>
                  <a:cubicBezTo>
                    <a:pt x="157229" y="708462"/>
                    <a:pt x="147892" y="731789"/>
                    <a:pt x="138861" y="754340"/>
                  </a:cubicBezTo>
                  <a:cubicBezTo>
                    <a:pt x="128717" y="779686"/>
                    <a:pt x="119137" y="803627"/>
                    <a:pt x="120898" y="829377"/>
                  </a:cubicBezTo>
                  <a:cubicBezTo>
                    <a:pt x="120963" y="830443"/>
                    <a:pt x="121060" y="831444"/>
                    <a:pt x="121431" y="832091"/>
                  </a:cubicBezTo>
                  <a:cubicBezTo>
                    <a:pt x="122481" y="833997"/>
                    <a:pt x="126310" y="833965"/>
                    <a:pt x="129395" y="833932"/>
                  </a:cubicBezTo>
                  <a:cubicBezTo>
                    <a:pt x="144241" y="833868"/>
                    <a:pt x="158990" y="840733"/>
                    <a:pt x="169878" y="852946"/>
                  </a:cubicBezTo>
                  <a:cubicBezTo>
                    <a:pt x="180766" y="865158"/>
                    <a:pt x="185935" y="880618"/>
                    <a:pt x="184093" y="895351"/>
                  </a:cubicBezTo>
                  <a:cubicBezTo>
                    <a:pt x="183964" y="896401"/>
                    <a:pt x="183803" y="897499"/>
                    <a:pt x="183657" y="898614"/>
                  </a:cubicBezTo>
                  <a:cubicBezTo>
                    <a:pt x="182446" y="907288"/>
                    <a:pt x="181202" y="916254"/>
                    <a:pt x="187066" y="919776"/>
                  </a:cubicBezTo>
                  <a:cubicBezTo>
                    <a:pt x="188390" y="920567"/>
                    <a:pt x="190216" y="921181"/>
                    <a:pt x="191977" y="921763"/>
                  </a:cubicBezTo>
                  <a:cubicBezTo>
                    <a:pt x="196257" y="923184"/>
                    <a:pt x="201572" y="924945"/>
                    <a:pt x="202121" y="930647"/>
                  </a:cubicBezTo>
                  <a:cubicBezTo>
                    <a:pt x="202461" y="934088"/>
                    <a:pt x="200522" y="936802"/>
                    <a:pt x="198955" y="938983"/>
                  </a:cubicBezTo>
                  <a:cubicBezTo>
                    <a:pt x="198567" y="939516"/>
                    <a:pt x="198196" y="940049"/>
                    <a:pt x="197857" y="940582"/>
                  </a:cubicBezTo>
                  <a:cubicBezTo>
                    <a:pt x="192413" y="949160"/>
                    <a:pt x="198115" y="960985"/>
                    <a:pt x="205272" y="969191"/>
                  </a:cubicBezTo>
                  <a:cubicBezTo>
                    <a:pt x="207662" y="971938"/>
                    <a:pt x="210312" y="974135"/>
                    <a:pt x="212880" y="976267"/>
                  </a:cubicBezTo>
                  <a:cubicBezTo>
                    <a:pt x="218308" y="980790"/>
                    <a:pt x="223929" y="985459"/>
                    <a:pt x="225222" y="994424"/>
                  </a:cubicBezTo>
                  <a:cubicBezTo>
                    <a:pt x="225222" y="994473"/>
                    <a:pt x="225222" y="994537"/>
                    <a:pt x="225222" y="994586"/>
                  </a:cubicBezTo>
                  <a:cubicBezTo>
                    <a:pt x="229793" y="997284"/>
                    <a:pt x="234575" y="999900"/>
                    <a:pt x="239228" y="1002421"/>
                  </a:cubicBezTo>
                  <a:cubicBezTo>
                    <a:pt x="252361" y="1009545"/>
                    <a:pt x="265930" y="1016911"/>
                    <a:pt x="276722" y="1027783"/>
                  </a:cubicBezTo>
                  <a:cubicBezTo>
                    <a:pt x="279565" y="1030642"/>
                    <a:pt x="282359" y="1033840"/>
                    <a:pt x="285057" y="1036926"/>
                  </a:cubicBezTo>
                  <a:cubicBezTo>
                    <a:pt x="294685" y="1047911"/>
                    <a:pt x="303764" y="1058217"/>
                    <a:pt x="316412" y="1057862"/>
                  </a:cubicBezTo>
                  <a:cubicBezTo>
                    <a:pt x="321081" y="1057700"/>
                    <a:pt x="326057" y="1055923"/>
                    <a:pt x="330887" y="1054211"/>
                  </a:cubicBezTo>
                  <a:cubicBezTo>
                    <a:pt x="339238" y="1051239"/>
                    <a:pt x="347881" y="1048153"/>
                    <a:pt x="356071" y="1052757"/>
                  </a:cubicBezTo>
                  <a:cubicBezTo>
                    <a:pt x="360804" y="1055423"/>
                    <a:pt x="363615" y="1059913"/>
                    <a:pt x="365457" y="1064970"/>
                  </a:cubicBezTo>
                  <a:cubicBezTo>
                    <a:pt x="409816" y="1035537"/>
                    <a:pt x="440945" y="989158"/>
                    <a:pt x="448877" y="940566"/>
                  </a:cubicBezTo>
                  <a:lnTo>
                    <a:pt x="449103" y="939145"/>
                  </a:lnTo>
                  <a:cubicBezTo>
                    <a:pt x="450185" y="932408"/>
                    <a:pt x="451413" y="924767"/>
                    <a:pt x="456292" y="919081"/>
                  </a:cubicBezTo>
                  <a:cubicBezTo>
                    <a:pt x="461542" y="912959"/>
                    <a:pt x="469231" y="910875"/>
                    <a:pt x="476662" y="908872"/>
                  </a:cubicBezTo>
                  <a:cubicBezTo>
                    <a:pt x="478407" y="908403"/>
                    <a:pt x="480135" y="907935"/>
                    <a:pt x="481831" y="907401"/>
                  </a:cubicBezTo>
                  <a:cubicBezTo>
                    <a:pt x="489747" y="904946"/>
                    <a:pt x="497469" y="899357"/>
                    <a:pt x="496871" y="892378"/>
                  </a:cubicBezTo>
                  <a:cubicBezTo>
                    <a:pt x="496580" y="889050"/>
                    <a:pt x="494464" y="886013"/>
                    <a:pt x="492219" y="882799"/>
                  </a:cubicBezTo>
                  <a:cubicBezTo>
                    <a:pt x="491411" y="881636"/>
                    <a:pt x="490603" y="880473"/>
                    <a:pt x="489860" y="879293"/>
                  </a:cubicBezTo>
                  <a:cubicBezTo>
                    <a:pt x="482155" y="866919"/>
                    <a:pt x="482575" y="850070"/>
                    <a:pt x="490555" y="837938"/>
                  </a:cubicBezTo>
                  <a:cubicBezTo>
                    <a:pt x="483754" y="835386"/>
                    <a:pt x="475677" y="838488"/>
                    <a:pt x="467196" y="841767"/>
                  </a:cubicBezTo>
                  <a:cubicBezTo>
                    <a:pt x="457745" y="845402"/>
                    <a:pt x="447956" y="849182"/>
                    <a:pt x="438377" y="845967"/>
                  </a:cubicBezTo>
                  <a:cubicBezTo>
                    <a:pt x="429330" y="842946"/>
                    <a:pt x="424274" y="835031"/>
                    <a:pt x="419395" y="827358"/>
                  </a:cubicBezTo>
                  <a:cubicBezTo>
                    <a:pt x="416908" y="823464"/>
                    <a:pt x="414339" y="819442"/>
                    <a:pt x="411334" y="816260"/>
                  </a:cubicBezTo>
                  <a:cubicBezTo>
                    <a:pt x="408637" y="813400"/>
                    <a:pt x="405438" y="811074"/>
                    <a:pt x="402062" y="808602"/>
                  </a:cubicBezTo>
                  <a:cubicBezTo>
                    <a:pt x="398443" y="805953"/>
                    <a:pt x="394696" y="803223"/>
                    <a:pt x="391529" y="799750"/>
                  </a:cubicBezTo>
                  <a:cubicBezTo>
                    <a:pt x="377071" y="783886"/>
                    <a:pt x="380205" y="760495"/>
                    <a:pt x="382968" y="739850"/>
                  </a:cubicBezTo>
                  <a:cubicBezTo>
                    <a:pt x="383339" y="737072"/>
                    <a:pt x="383711" y="734325"/>
                    <a:pt x="384034" y="731628"/>
                  </a:cubicBezTo>
                  <a:cubicBezTo>
                    <a:pt x="386505" y="710966"/>
                    <a:pt x="385407" y="690208"/>
                    <a:pt x="380803" y="669918"/>
                  </a:cubicBezTo>
                  <a:lnTo>
                    <a:pt x="380625" y="669143"/>
                  </a:lnTo>
                  <a:cubicBezTo>
                    <a:pt x="379834" y="665686"/>
                    <a:pt x="379010" y="662116"/>
                    <a:pt x="379349" y="658320"/>
                  </a:cubicBezTo>
                  <a:cubicBezTo>
                    <a:pt x="380286" y="647593"/>
                    <a:pt x="389106" y="641374"/>
                    <a:pt x="397652" y="635365"/>
                  </a:cubicBezTo>
                  <a:cubicBezTo>
                    <a:pt x="405050" y="630147"/>
                    <a:pt x="412045" y="625236"/>
                    <a:pt x="413855" y="617805"/>
                  </a:cubicBezTo>
                  <a:cubicBezTo>
                    <a:pt x="414759" y="614106"/>
                    <a:pt x="413903" y="609954"/>
                    <a:pt x="411512" y="606400"/>
                  </a:cubicBezTo>
                  <a:cubicBezTo>
                    <a:pt x="409121" y="602846"/>
                    <a:pt x="405600" y="600488"/>
                    <a:pt x="401836" y="599922"/>
                  </a:cubicBezTo>
                  <a:cubicBezTo>
                    <a:pt x="399332" y="599551"/>
                    <a:pt x="396295" y="599599"/>
                    <a:pt x="393371" y="599664"/>
                  </a:cubicBezTo>
                  <a:cubicBezTo>
                    <a:pt x="385843" y="599809"/>
                    <a:pt x="376458" y="599987"/>
                    <a:pt x="373954" y="591474"/>
                  </a:cubicBezTo>
                  <a:cubicBezTo>
                    <a:pt x="373356" y="589438"/>
                    <a:pt x="373453" y="587451"/>
                    <a:pt x="373534" y="585690"/>
                  </a:cubicBezTo>
                  <a:cubicBezTo>
                    <a:pt x="373566" y="584996"/>
                    <a:pt x="373598" y="584317"/>
                    <a:pt x="373582" y="583623"/>
                  </a:cubicBezTo>
                  <a:cubicBezTo>
                    <a:pt x="373421" y="576418"/>
                    <a:pt x="367201" y="570667"/>
                    <a:pt x="361127" y="568179"/>
                  </a:cubicBezTo>
                  <a:cubicBezTo>
                    <a:pt x="354036" y="565271"/>
                    <a:pt x="345991" y="565256"/>
                    <a:pt x="338221" y="565223"/>
                  </a:cubicBezTo>
                  <a:cubicBezTo>
                    <a:pt x="336702" y="565223"/>
                    <a:pt x="335442" y="564044"/>
                    <a:pt x="335329" y="562525"/>
                  </a:cubicBezTo>
                  <a:cubicBezTo>
                    <a:pt x="334683" y="553059"/>
                    <a:pt x="340256" y="542979"/>
                    <a:pt x="350207" y="535548"/>
                  </a:cubicBezTo>
                  <a:cubicBezTo>
                    <a:pt x="354698" y="532188"/>
                    <a:pt x="359625" y="529522"/>
                    <a:pt x="364390" y="526954"/>
                  </a:cubicBezTo>
                  <a:cubicBezTo>
                    <a:pt x="368106" y="524934"/>
                    <a:pt x="371950" y="522867"/>
                    <a:pt x="375456" y="520508"/>
                  </a:cubicBezTo>
                  <a:cubicBezTo>
                    <a:pt x="384422" y="514499"/>
                    <a:pt x="392095" y="506131"/>
                    <a:pt x="399526" y="498038"/>
                  </a:cubicBezTo>
                  <a:cubicBezTo>
                    <a:pt x="409881" y="486762"/>
                    <a:pt x="420575" y="475099"/>
                    <a:pt x="435162" y="469219"/>
                  </a:cubicBezTo>
                  <a:cubicBezTo>
                    <a:pt x="450654" y="462967"/>
                    <a:pt x="467422" y="464453"/>
                    <a:pt x="483641" y="465891"/>
                  </a:cubicBezTo>
                  <a:cubicBezTo>
                    <a:pt x="496031" y="466989"/>
                    <a:pt x="508857" y="468120"/>
                    <a:pt x="520828" y="465729"/>
                  </a:cubicBezTo>
                  <a:cubicBezTo>
                    <a:pt x="527063" y="464469"/>
                    <a:pt x="531667" y="462434"/>
                    <a:pt x="534898" y="459463"/>
                  </a:cubicBezTo>
                  <a:cubicBezTo>
                    <a:pt x="549679" y="445861"/>
                    <a:pt x="533945" y="419061"/>
                    <a:pt x="528759" y="411162"/>
                  </a:cubicBezTo>
                  <a:cubicBezTo>
                    <a:pt x="512314" y="386107"/>
                    <a:pt x="509407" y="367853"/>
                    <a:pt x="519907" y="355365"/>
                  </a:cubicBezTo>
                  <a:cubicBezTo>
                    <a:pt x="526401" y="347644"/>
                    <a:pt x="537628" y="344041"/>
                    <a:pt x="549938" y="345721"/>
                  </a:cubicBezTo>
                  <a:cubicBezTo>
                    <a:pt x="558903" y="346949"/>
                    <a:pt x="567223" y="350568"/>
                    <a:pt x="575267" y="354057"/>
                  </a:cubicBezTo>
                  <a:cubicBezTo>
                    <a:pt x="576495" y="354590"/>
                    <a:pt x="577739" y="355123"/>
                    <a:pt x="578967" y="355656"/>
                  </a:cubicBezTo>
                  <a:cubicBezTo>
                    <a:pt x="596607" y="363200"/>
                    <a:pt x="620838" y="369339"/>
                    <a:pt x="636088" y="355834"/>
                  </a:cubicBezTo>
                  <a:cubicBezTo>
                    <a:pt x="639028" y="353233"/>
                    <a:pt x="641403" y="350067"/>
                    <a:pt x="643923" y="346707"/>
                  </a:cubicBezTo>
                  <a:cubicBezTo>
                    <a:pt x="646265" y="343589"/>
                    <a:pt x="648672" y="340374"/>
                    <a:pt x="651612" y="337564"/>
                  </a:cubicBezTo>
                  <a:cubicBezTo>
                    <a:pt x="657541" y="331926"/>
                    <a:pt x="665650" y="329163"/>
                    <a:pt x="675100" y="329616"/>
                  </a:cubicBezTo>
                  <a:cubicBezTo>
                    <a:pt x="688201" y="330213"/>
                    <a:pt x="702272" y="337030"/>
                    <a:pt x="710947" y="346949"/>
                  </a:cubicBezTo>
                  <a:cubicBezTo>
                    <a:pt x="729976" y="368741"/>
                    <a:pt x="763351" y="376915"/>
                    <a:pt x="790296" y="366383"/>
                  </a:cubicBezTo>
                  <a:cubicBezTo>
                    <a:pt x="803300" y="361294"/>
                    <a:pt x="813494" y="352700"/>
                    <a:pt x="819018" y="342151"/>
                  </a:cubicBezTo>
                  <a:cubicBezTo>
                    <a:pt x="825141" y="330456"/>
                    <a:pt x="824979" y="316434"/>
                    <a:pt x="818598" y="306434"/>
                  </a:cubicBezTo>
                  <a:cubicBezTo>
                    <a:pt x="816514" y="303171"/>
                    <a:pt x="813833" y="300328"/>
                    <a:pt x="811006" y="297307"/>
                  </a:cubicBezTo>
                  <a:cubicBezTo>
                    <a:pt x="808276" y="294399"/>
                    <a:pt x="805449" y="291395"/>
                    <a:pt x="803139" y="287938"/>
                  </a:cubicBezTo>
                  <a:cubicBezTo>
                    <a:pt x="797921" y="280103"/>
                    <a:pt x="796289" y="268666"/>
                    <a:pt x="803300" y="261978"/>
                  </a:cubicBezTo>
                  <a:cubicBezTo>
                    <a:pt x="806466" y="258957"/>
                    <a:pt x="810650" y="257713"/>
                    <a:pt x="814350" y="256615"/>
                  </a:cubicBezTo>
                  <a:lnTo>
                    <a:pt x="814237" y="25664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6" name="Free-form: Shape 375">
              <a:extLst>
                <a:ext uri="{FF2B5EF4-FFF2-40B4-BE49-F238E27FC236}">
                  <a16:creationId xmlns:a16="http://schemas.microsoft.com/office/drawing/2014/main" id="{2A69248E-DFB2-58A8-5793-818359EB7741}"/>
                </a:ext>
              </a:extLst>
            </p:cNvPr>
            <p:cNvSpPr/>
            <p:nvPr/>
          </p:nvSpPr>
          <p:spPr>
            <a:xfrm>
              <a:off x="5551243" y="2635807"/>
              <a:ext cx="24820" cy="44119"/>
            </a:xfrm>
            <a:custGeom>
              <a:avLst/>
              <a:gdLst>
                <a:gd name="connsiteX0" fmla="*/ 23008 w 24820"/>
                <a:gd name="connsiteY0" fmla="*/ 6576 h 44119"/>
                <a:gd name="connsiteX1" fmla="*/ 22668 w 24820"/>
                <a:gd name="connsiteY1" fmla="*/ 5914 h 44119"/>
                <a:gd name="connsiteX2" fmla="*/ 15092 w 24820"/>
                <a:gd name="connsiteY2" fmla="*/ 163 h 44119"/>
                <a:gd name="connsiteX3" fmla="*/ 14107 w 24820"/>
                <a:gd name="connsiteY3" fmla="*/ 373 h 44119"/>
                <a:gd name="connsiteX4" fmla="*/ 1846 w 24820"/>
                <a:gd name="connsiteY4" fmla="*/ 7982 h 44119"/>
                <a:gd name="connsiteX5" fmla="*/ 2298 w 24820"/>
                <a:gd name="connsiteY5" fmla="*/ 22391 h 44119"/>
                <a:gd name="connsiteX6" fmla="*/ 2847 w 24820"/>
                <a:gd name="connsiteY6" fmla="*/ 23247 h 44119"/>
                <a:gd name="connsiteX7" fmla="*/ 5109 w 24820"/>
                <a:gd name="connsiteY7" fmla="*/ 30985 h 44119"/>
                <a:gd name="connsiteX8" fmla="*/ 1878 w 24820"/>
                <a:gd name="connsiteY8" fmla="*/ 35799 h 44119"/>
                <a:gd name="connsiteX9" fmla="*/ 521 w 24820"/>
                <a:gd name="connsiteY9" fmla="*/ 37237 h 44119"/>
                <a:gd name="connsiteX10" fmla="*/ 230 w 24820"/>
                <a:gd name="connsiteY10" fmla="*/ 40338 h 44119"/>
                <a:gd name="connsiteX11" fmla="*/ 3429 w 24820"/>
                <a:gd name="connsiteY11" fmla="*/ 43779 h 44119"/>
                <a:gd name="connsiteX12" fmla="*/ 12798 w 24820"/>
                <a:gd name="connsiteY12" fmla="*/ 40694 h 44119"/>
                <a:gd name="connsiteX13" fmla="*/ 14801 w 24820"/>
                <a:gd name="connsiteY13" fmla="*/ 38351 h 44119"/>
                <a:gd name="connsiteX14" fmla="*/ 19906 w 24820"/>
                <a:gd name="connsiteY14" fmla="*/ 33328 h 44119"/>
                <a:gd name="connsiteX15" fmla="*/ 21473 w 24820"/>
                <a:gd name="connsiteY15" fmla="*/ 32455 h 44119"/>
                <a:gd name="connsiteX16" fmla="*/ 23121 w 24820"/>
                <a:gd name="connsiteY16" fmla="*/ 31454 h 44119"/>
                <a:gd name="connsiteX17" fmla="*/ 24801 w 24820"/>
                <a:gd name="connsiteY17" fmla="*/ 25121 h 44119"/>
                <a:gd name="connsiteX18" fmla="*/ 24542 w 24820"/>
                <a:gd name="connsiteY18" fmla="*/ 13942 h 44119"/>
                <a:gd name="connsiteX19" fmla="*/ 23040 w 24820"/>
                <a:gd name="connsiteY19" fmla="*/ 6544 h 44119"/>
                <a:gd name="connsiteX20" fmla="*/ 23008 w 24820"/>
                <a:gd name="connsiteY20" fmla="*/ 6576 h 4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820" h="44119">
                  <a:moveTo>
                    <a:pt x="23008" y="6576"/>
                  </a:moveTo>
                  <a:lnTo>
                    <a:pt x="22668" y="5914"/>
                  </a:lnTo>
                  <a:cubicBezTo>
                    <a:pt x="19938" y="583"/>
                    <a:pt x="19276" y="-467"/>
                    <a:pt x="15092" y="163"/>
                  </a:cubicBezTo>
                  <a:cubicBezTo>
                    <a:pt x="14785" y="292"/>
                    <a:pt x="14446" y="357"/>
                    <a:pt x="14107" y="373"/>
                  </a:cubicBezTo>
                  <a:cubicBezTo>
                    <a:pt x="9131" y="534"/>
                    <a:pt x="4204" y="3588"/>
                    <a:pt x="1846" y="7982"/>
                  </a:cubicBezTo>
                  <a:cubicBezTo>
                    <a:pt x="-513" y="12376"/>
                    <a:pt x="-319" y="18159"/>
                    <a:pt x="2298" y="22391"/>
                  </a:cubicBezTo>
                  <a:cubicBezTo>
                    <a:pt x="2476" y="22682"/>
                    <a:pt x="2670" y="22973"/>
                    <a:pt x="2847" y="23247"/>
                  </a:cubicBezTo>
                  <a:cubicBezTo>
                    <a:pt x="4107" y="25186"/>
                    <a:pt x="5836" y="27835"/>
                    <a:pt x="5109" y="30985"/>
                  </a:cubicBezTo>
                  <a:cubicBezTo>
                    <a:pt x="4592" y="33214"/>
                    <a:pt x="3090" y="34652"/>
                    <a:pt x="1878" y="35799"/>
                  </a:cubicBezTo>
                  <a:cubicBezTo>
                    <a:pt x="1345" y="36316"/>
                    <a:pt x="828" y="36785"/>
                    <a:pt x="521" y="37237"/>
                  </a:cubicBezTo>
                  <a:cubicBezTo>
                    <a:pt x="-254" y="38319"/>
                    <a:pt x="4" y="39644"/>
                    <a:pt x="230" y="40338"/>
                  </a:cubicBezTo>
                  <a:cubicBezTo>
                    <a:pt x="747" y="41938"/>
                    <a:pt x="2007" y="43295"/>
                    <a:pt x="3429" y="43779"/>
                  </a:cubicBezTo>
                  <a:cubicBezTo>
                    <a:pt x="6757" y="44910"/>
                    <a:pt x="10520" y="43052"/>
                    <a:pt x="12798" y="40694"/>
                  </a:cubicBezTo>
                  <a:cubicBezTo>
                    <a:pt x="13509" y="39967"/>
                    <a:pt x="14155" y="39159"/>
                    <a:pt x="14801" y="38351"/>
                  </a:cubicBezTo>
                  <a:cubicBezTo>
                    <a:pt x="16239" y="36558"/>
                    <a:pt x="17725" y="34701"/>
                    <a:pt x="19906" y="33328"/>
                  </a:cubicBezTo>
                  <a:cubicBezTo>
                    <a:pt x="20407" y="33004"/>
                    <a:pt x="20940" y="32730"/>
                    <a:pt x="21473" y="32455"/>
                  </a:cubicBezTo>
                  <a:cubicBezTo>
                    <a:pt x="22119" y="32116"/>
                    <a:pt x="22717" y="31809"/>
                    <a:pt x="23121" y="31454"/>
                  </a:cubicBezTo>
                  <a:cubicBezTo>
                    <a:pt x="24526" y="30242"/>
                    <a:pt x="24752" y="27577"/>
                    <a:pt x="24801" y="25121"/>
                  </a:cubicBezTo>
                  <a:cubicBezTo>
                    <a:pt x="24865" y="21422"/>
                    <a:pt x="24769" y="17658"/>
                    <a:pt x="24542" y="13942"/>
                  </a:cubicBezTo>
                  <a:cubicBezTo>
                    <a:pt x="24381" y="11374"/>
                    <a:pt x="24122" y="8676"/>
                    <a:pt x="23040" y="6544"/>
                  </a:cubicBezTo>
                  <a:lnTo>
                    <a:pt x="23008" y="657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7" name="Free-form: Shape 376">
              <a:extLst>
                <a:ext uri="{FF2B5EF4-FFF2-40B4-BE49-F238E27FC236}">
                  <a16:creationId xmlns:a16="http://schemas.microsoft.com/office/drawing/2014/main" id="{12EFA589-ABD0-56D7-E670-84705DDB212C}"/>
                </a:ext>
              </a:extLst>
            </p:cNvPr>
            <p:cNvSpPr/>
            <p:nvPr/>
          </p:nvSpPr>
          <p:spPr>
            <a:xfrm>
              <a:off x="5631578" y="2530257"/>
              <a:ext cx="17734" cy="27789"/>
            </a:xfrm>
            <a:custGeom>
              <a:avLst/>
              <a:gdLst>
                <a:gd name="connsiteX0" fmla="*/ 2718 w 17734"/>
                <a:gd name="connsiteY0" fmla="*/ 26572 h 27789"/>
                <a:gd name="connsiteX1" fmla="*/ 12556 w 17734"/>
                <a:gd name="connsiteY1" fmla="*/ 25637 h 27789"/>
                <a:gd name="connsiteX2" fmla="*/ 17596 w 17734"/>
                <a:gd name="connsiteY2" fmla="*/ 14716 h 27789"/>
                <a:gd name="connsiteX3" fmla="*/ 16191 w 17734"/>
                <a:gd name="connsiteY3" fmla="*/ 5315 h 27789"/>
                <a:gd name="connsiteX4" fmla="*/ 14785 w 17734"/>
                <a:gd name="connsiteY4" fmla="*/ 1502 h 27789"/>
                <a:gd name="connsiteX5" fmla="*/ 14317 w 17734"/>
                <a:gd name="connsiteY5" fmla="*/ 0 h 27789"/>
                <a:gd name="connsiteX6" fmla="*/ 2201 w 17734"/>
                <a:gd name="connsiteY6" fmla="*/ 11922 h 27789"/>
                <a:gd name="connsiteX7" fmla="*/ 2718 w 17734"/>
                <a:gd name="connsiteY7" fmla="*/ 26572 h 2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34" h="27789">
                  <a:moveTo>
                    <a:pt x="2718" y="26572"/>
                  </a:moveTo>
                  <a:cubicBezTo>
                    <a:pt x="5610" y="28721"/>
                    <a:pt x="9987" y="27785"/>
                    <a:pt x="12556" y="25637"/>
                  </a:cubicBezTo>
                  <a:cubicBezTo>
                    <a:pt x="16255" y="22535"/>
                    <a:pt x="17305" y="17463"/>
                    <a:pt x="17596" y="14716"/>
                  </a:cubicBezTo>
                  <a:cubicBezTo>
                    <a:pt x="18000" y="11017"/>
                    <a:pt x="17515" y="7770"/>
                    <a:pt x="16191" y="5315"/>
                  </a:cubicBezTo>
                  <a:cubicBezTo>
                    <a:pt x="15447" y="3942"/>
                    <a:pt x="15076" y="2585"/>
                    <a:pt x="14785" y="1502"/>
                  </a:cubicBezTo>
                  <a:cubicBezTo>
                    <a:pt x="14656" y="1034"/>
                    <a:pt x="14478" y="372"/>
                    <a:pt x="14317" y="0"/>
                  </a:cubicBezTo>
                  <a:cubicBezTo>
                    <a:pt x="9260" y="2698"/>
                    <a:pt x="4980" y="6898"/>
                    <a:pt x="2201" y="11922"/>
                  </a:cubicBezTo>
                  <a:cubicBezTo>
                    <a:pt x="-545" y="16881"/>
                    <a:pt x="-1094" y="23729"/>
                    <a:pt x="2718" y="2657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8" name="Free-form: Shape 377">
              <a:extLst>
                <a:ext uri="{FF2B5EF4-FFF2-40B4-BE49-F238E27FC236}">
                  <a16:creationId xmlns:a16="http://schemas.microsoft.com/office/drawing/2014/main" id="{B588EFD9-6802-C814-5082-F877D5C09A06}"/>
                </a:ext>
              </a:extLst>
            </p:cNvPr>
            <p:cNvSpPr/>
            <p:nvPr/>
          </p:nvSpPr>
          <p:spPr>
            <a:xfrm>
              <a:off x="5883845" y="3032629"/>
              <a:ext cx="211267" cy="429159"/>
            </a:xfrm>
            <a:custGeom>
              <a:avLst/>
              <a:gdLst>
                <a:gd name="connsiteX0" fmla="*/ 40936 w 211267"/>
                <a:gd name="connsiteY0" fmla="*/ 311622 h 429159"/>
                <a:gd name="connsiteX1" fmla="*/ 48092 w 211267"/>
                <a:gd name="connsiteY1" fmla="*/ 323737 h 429159"/>
                <a:gd name="connsiteX2" fmla="*/ 53068 w 211267"/>
                <a:gd name="connsiteY2" fmla="*/ 331201 h 429159"/>
                <a:gd name="connsiteX3" fmla="*/ 63067 w 211267"/>
                <a:gd name="connsiteY3" fmla="*/ 378969 h 429159"/>
                <a:gd name="connsiteX4" fmla="*/ 74181 w 211267"/>
                <a:gd name="connsiteY4" fmla="*/ 426575 h 429159"/>
                <a:gd name="connsiteX5" fmla="*/ 76152 w 211267"/>
                <a:gd name="connsiteY5" fmla="*/ 429160 h 429159"/>
                <a:gd name="connsiteX6" fmla="*/ 137263 w 211267"/>
                <a:gd name="connsiteY6" fmla="*/ 355852 h 429159"/>
                <a:gd name="connsiteX7" fmla="*/ 143757 w 211267"/>
                <a:gd name="connsiteY7" fmla="*/ 350973 h 429159"/>
                <a:gd name="connsiteX8" fmla="*/ 153385 w 211267"/>
                <a:gd name="connsiteY8" fmla="*/ 350327 h 429159"/>
                <a:gd name="connsiteX9" fmla="*/ 156665 w 211267"/>
                <a:gd name="connsiteY9" fmla="*/ 350586 h 429159"/>
                <a:gd name="connsiteX10" fmla="*/ 174644 w 211267"/>
                <a:gd name="connsiteY10" fmla="*/ 335934 h 429159"/>
                <a:gd name="connsiteX11" fmla="*/ 174402 w 211267"/>
                <a:gd name="connsiteY11" fmla="*/ 323657 h 429159"/>
                <a:gd name="connsiteX12" fmla="*/ 177423 w 211267"/>
                <a:gd name="connsiteY12" fmla="*/ 302785 h 429159"/>
                <a:gd name="connsiteX13" fmla="*/ 187325 w 211267"/>
                <a:gd name="connsiteY13" fmla="*/ 295290 h 429159"/>
                <a:gd name="connsiteX14" fmla="*/ 194821 w 211267"/>
                <a:gd name="connsiteY14" fmla="*/ 290088 h 429159"/>
                <a:gd name="connsiteX15" fmla="*/ 195241 w 211267"/>
                <a:gd name="connsiteY15" fmla="*/ 263789 h 429159"/>
                <a:gd name="connsiteX16" fmla="*/ 195192 w 211267"/>
                <a:gd name="connsiteY16" fmla="*/ 263337 h 429159"/>
                <a:gd name="connsiteX17" fmla="*/ 185629 w 211267"/>
                <a:gd name="connsiteY17" fmla="*/ 212887 h 429159"/>
                <a:gd name="connsiteX18" fmla="*/ 176712 w 211267"/>
                <a:gd name="connsiteY18" fmla="*/ 143860 h 429159"/>
                <a:gd name="connsiteX19" fmla="*/ 176954 w 211267"/>
                <a:gd name="connsiteY19" fmla="*/ 122860 h 429159"/>
                <a:gd name="connsiteX20" fmla="*/ 183949 w 211267"/>
                <a:gd name="connsiteY20" fmla="*/ 114993 h 429159"/>
                <a:gd name="connsiteX21" fmla="*/ 185177 w 211267"/>
                <a:gd name="connsiteY21" fmla="*/ 113910 h 429159"/>
                <a:gd name="connsiteX22" fmla="*/ 211072 w 211267"/>
                <a:gd name="connsiteY22" fmla="*/ 43026 h 429159"/>
                <a:gd name="connsiteX23" fmla="*/ 145857 w 211267"/>
                <a:gd name="connsiteY23" fmla="*/ 21945 h 429159"/>
                <a:gd name="connsiteX24" fmla="*/ 141108 w 211267"/>
                <a:gd name="connsiteY24" fmla="*/ 22526 h 429159"/>
                <a:gd name="connsiteX25" fmla="*/ 125164 w 211267"/>
                <a:gd name="connsiteY25" fmla="*/ 23156 h 429159"/>
                <a:gd name="connsiteX26" fmla="*/ 104244 w 211267"/>
                <a:gd name="connsiteY26" fmla="*/ 14465 h 429159"/>
                <a:gd name="connsiteX27" fmla="*/ 103404 w 211267"/>
                <a:gd name="connsiteY27" fmla="*/ 13980 h 429159"/>
                <a:gd name="connsiteX28" fmla="*/ 64973 w 211267"/>
                <a:gd name="connsiteY28" fmla="*/ 23 h 429159"/>
                <a:gd name="connsiteX29" fmla="*/ 33553 w 211267"/>
                <a:gd name="connsiteY29" fmla="*/ 18358 h 429159"/>
                <a:gd name="connsiteX30" fmla="*/ 34022 w 211267"/>
                <a:gd name="connsiteY30" fmla="*/ 42687 h 429159"/>
                <a:gd name="connsiteX31" fmla="*/ 34894 w 211267"/>
                <a:gd name="connsiteY31" fmla="*/ 47678 h 429159"/>
                <a:gd name="connsiteX32" fmla="*/ 24846 w 211267"/>
                <a:gd name="connsiteY32" fmla="*/ 121794 h 429159"/>
                <a:gd name="connsiteX33" fmla="*/ 23586 w 211267"/>
                <a:gd name="connsiteY33" fmla="*/ 124491 h 429159"/>
                <a:gd name="connsiteX34" fmla="*/ 18724 w 211267"/>
                <a:gd name="connsiteY34" fmla="*/ 138400 h 429159"/>
                <a:gd name="connsiteX35" fmla="*/ 20372 w 211267"/>
                <a:gd name="connsiteY35" fmla="*/ 153165 h 429159"/>
                <a:gd name="connsiteX36" fmla="*/ 22310 w 211267"/>
                <a:gd name="connsiteY36" fmla="*/ 167106 h 429159"/>
                <a:gd name="connsiteX37" fmla="*/ 10517 w 211267"/>
                <a:gd name="connsiteY37" fmla="*/ 197153 h 429159"/>
                <a:gd name="connsiteX38" fmla="*/ 6414 w 211267"/>
                <a:gd name="connsiteY38" fmla="*/ 203970 h 429159"/>
                <a:gd name="connsiteX39" fmla="*/ 4088 w 211267"/>
                <a:gd name="connsiteY39" fmla="*/ 237312 h 429159"/>
                <a:gd name="connsiteX40" fmla="*/ 17383 w 211267"/>
                <a:gd name="connsiteY40" fmla="*/ 245519 h 429159"/>
                <a:gd name="connsiteX41" fmla="*/ 31954 w 211267"/>
                <a:gd name="connsiteY41" fmla="*/ 254323 h 429159"/>
                <a:gd name="connsiteX42" fmla="*/ 39272 w 211267"/>
                <a:gd name="connsiteY42" fmla="*/ 287649 h 429159"/>
                <a:gd name="connsiteX43" fmla="*/ 41000 w 211267"/>
                <a:gd name="connsiteY43" fmla="*/ 311638 h 429159"/>
                <a:gd name="connsiteX44" fmla="*/ 40936 w 211267"/>
                <a:gd name="connsiteY44" fmla="*/ 311622 h 42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11267" h="429159">
                  <a:moveTo>
                    <a:pt x="40936" y="311622"/>
                  </a:moveTo>
                  <a:cubicBezTo>
                    <a:pt x="42535" y="315919"/>
                    <a:pt x="45233" y="319715"/>
                    <a:pt x="48092" y="323737"/>
                  </a:cubicBezTo>
                  <a:cubicBezTo>
                    <a:pt x="49788" y="326128"/>
                    <a:pt x="51549" y="328600"/>
                    <a:pt x="53068" y="331201"/>
                  </a:cubicBezTo>
                  <a:cubicBezTo>
                    <a:pt x="61452" y="345546"/>
                    <a:pt x="62275" y="362540"/>
                    <a:pt x="63067" y="378969"/>
                  </a:cubicBezTo>
                  <a:cubicBezTo>
                    <a:pt x="63923" y="396609"/>
                    <a:pt x="64731" y="413280"/>
                    <a:pt x="74181" y="426575"/>
                  </a:cubicBezTo>
                  <a:cubicBezTo>
                    <a:pt x="74811" y="427447"/>
                    <a:pt x="75473" y="428304"/>
                    <a:pt x="76152" y="429160"/>
                  </a:cubicBezTo>
                  <a:cubicBezTo>
                    <a:pt x="94406" y="403135"/>
                    <a:pt x="114954" y="378484"/>
                    <a:pt x="137263" y="355852"/>
                  </a:cubicBezTo>
                  <a:cubicBezTo>
                    <a:pt x="138911" y="354172"/>
                    <a:pt x="140963" y="352088"/>
                    <a:pt x="143757" y="350973"/>
                  </a:cubicBezTo>
                  <a:cubicBezTo>
                    <a:pt x="147020" y="349665"/>
                    <a:pt x="150397" y="350020"/>
                    <a:pt x="153385" y="350327"/>
                  </a:cubicBezTo>
                  <a:cubicBezTo>
                    <a:pt x="154484" y="350440"/>
                    <a:pt x="155582" y="350553"/>
                    <a:pt x="156665" y="350586"/>
                  </a:cubicBezTo>
                  <a:cubicBezTo>
                    <a:pt x="165113" y="350780"/>
                    <a:pt x="173126" y="344189"/>
                    <a:pt x="174644" y="335934"/>
                  </a:cubicBezTo>
                  <a:cubicBezTo>
                    <a:pt x="175339" y="332138"/>
                    <a:pt x="174886" y="328018"/>
                    <a:pt x="174402" y="323657"/>
                  </a:cubicBezTo>
                  <a:cubicBezTo>
                    <a:pt x="173610" y="316452"/>
                    <a:pt x="172786" y="309005"/>
                    <a:pt x="177423" y="302785"/>
                  </a:cubicBezTo>
                  <a:cubicBezTo>
                    <a:pt x="180056" y="299248"/>
                    <a:pt x="183755" y="297228"/>
                    <a:pt x="187325" y="295290"/>
                  </a:cubicBezTo>
                  <a:cubicBezTo>
                    <a:pt x="190201" y="293723"/>
                    <a:pt x="192915" y="292237"/>
                    <a:pt x="194821" y="290088"/>
                  </a:cubicBezTo>
                  <a:cubicBezTo>
                    <a:pt x="200523" y="283707"/>
                    <a:pt x="198229" y="273223"/>
                    <a:pt x="195241" y="263789"/>
                  </a:cubicBezTo>
                  <a:cubicBezTo>
                    <a:pt x="195192" y="263644"/>
                    <a:pt x="195208" y="263482"/>
                    <a:pt x="195192" y="263337"/>
                  </a:cubicBezTo>
                  <a:cubicBezTo>
                    <a:pt x="186614" y="248685"/>
                    <a:pt x="186033" y="228056"/>
                    <a:pt x="185629" y="212887"/>
                  </a:cubicBezTo>
                  <a:cubicBezTo>
                    <a:pt x="184999" y="189690"/>
                    <a:pt x="181994" y="166460"/>
                    <a:pt x="176712" y="143860"/>
                  </a:cubicBezTo>
                  <a:cubicBezTo>
                    <a:pt x="175226" y="137512"/>
                    <a:pt x="173368" y="129596"/>
                    <a:pt x="176954" y="122860"/>
                  </a:cubicBezTo>
                  <a:cubicBezTo>
                    <a:pt x="178699" y="119581"/>
                    <a:pt x="181364" y="117238"/>
                    <a:pt x="183949" y="114993"/>
                  </a:cubicBezTo>
                  <a:lnTo>
                    <a:pt x="185177" y="113910"/>
                  </a:lnTo>
                  <a:cubicBezTo>
                    <a:pt x="203382" y="97627"/>
                    <a:pt x="212768" y="71279"/>
                    <a:pt x="211072" y="43026"/>
                  </a:cubicBezTo>
                  <a:cubicBezTo>
                    <a:pt x="193561" y="27389"/>
                    <a:pt x="169200" y="19505"/>
                    <a:pt x="145857" y="21945"/>
                  </a:cubicBezTo>
                  <a:cubicBezTo>
                    <a:pt x="144274" y="22106"/>
                    <a:pt x="142691" y="22316"/>
                    <a:pt x="141108" y="22526"/>
                  </a:cubicBezTo>
                  <a:cubicBezTo>
                    <a:pt x="135939" y="23205"/>
                    <a:pt x="130592" y="23915"/>
                    <a:pt x="125164" y="23156"/>
                  </a:cubicBezTo>
                  <a:cubicBezTo>
                    <a:pt x="117442" y="22074"/>
                    <a:pt x="110738" y="18197"/>
                    <a:pt x="104244" y="14465"/>
                  </a:cubicBezTo>
                  <a:lnTo>
                    <a:pt x="103404" y="13980"/>
                  </a:lnTo>
                  <a:cubicBezTo>
                    <a:pt x="92128" y="7503"/>
                    <a:pt x="78931" y="540"/>
                    <a:pt x="64973" y="23"/>
                  </a:cubicBezTo>
                  <a:cubicBezTo>
                    <a:pt x="52583" y="-429"/>
                    <a:pt x="37850" y="5710"/>
                    <a:pt x="33553" y="18358"/>
                  </a:cubicBezTo>
                  <a:cubicBezTo>
                    <a:pt x="31001" y="25886"/>
                    <a:pt x="32536" y="34432"/>
                    <a:pt x="34022" y="42687"/>
                  </a:cubicBezTo>
                  <a:cubicBezTo>
                    <a:pt x="34329" y="44367"/>
                    <a:pt x="34619" y="46030"/>
                    <a:pt x="34894" y="47678"/>
                  </a:cubicBezTo>
                  <a:cubicBezTo>
                    <a:pt x="38917" y="72556"/>
                    <a:pt x="35346" y="98887"/>
                    <a:pt x="24846" y="121794"/>
                  </a:cubicBezTo>
                  <a:cubicBezTo>
                    <a:pt x="24442" y="122698"/>
                    <a:pt x="24006" y="123587"/>
                    <a:pt x="23586" y="124491"/>
                  </a:cubicBezTo>
                  <a:cubicBezTo>
                    <a:pt x="21357" y="129208"/>
                    <a:pt x="19257" y="133667"/>
                    <a:pt x="18724" y="138400"/>
                  </a:cubicBezTo>
                  <a:cubicBezTo>
                    <a:pt x="18174" y="143198"/>
                    <a:pt x="19241" y="148044"/>
                    <a:pt x="20372" y="153165"/>
                  </a:cubicBezTo>
                  <a:cubicBezTo>
                    <a:pt x="21357" y="157656"/>
                    <a:pt x="22375" y="162308"/>
                    <a:pt x="22310" y="167106"/>
                  </a:cubicBezTo>
                  <a:cubicBezTo>
                    <a:pt x="22132" y="178317"/>
                    <a:pt x="16220" y="187897"/>
                    <a:pt x="10517" y="197153"/>
                  </a:cubicBezTo>
                  <a:cubicBezTo>
                    <a:pt x="9112" y="199431"/>
                    <a:pt x="7723" y="201692"/>
                    <a:pt x="6414" y="203970"/>
                  </a:cubicBezTo>
                  <a:cubicBezTo>
                    <a:pt x="453" y="214406"/>
                    <a:pt x="-3294" y="228638"/>
                    <a:pt x="4088" y="237312"/>
                  </a:cubicBezTo>
                  <a:cubicBezTo>
                    <a:pt x="7351" y="241157"/>
                    <a:pt x="12230" y="243273"/>
                    <a:pt x="17383" y="245519"/>
                  </a:cubicBezTo>
                  <a:cubicBezTo>
                    <a:pt x="22536" y="247764"/>
                    <a:pt x="27851" y="250090"/>
                    <a:pt x="31954" y="254323"/>
                  </a:cubicBezTo>
                  <a:cubicBezTo>
                    <a:pt x="40613" y="263272"/>
                    <a:pt x="39934" y="275663"/>
                    <a:pt x="39272" y="287649"/>
                  </a:cubicBezTo>
                  <a:cubicBezTo>
                    <a:pt x="38820" y="295920"/>
                    <a:pt x="38351" y="304465"/>
                    <a:pt x="41000" y="311638"/>
                  </a:cubicBezTo>
                  <a:lnTo>
                    <a:pt x="40936" y="31162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9" name="Free-form: Shape 378">
              <a:extLst>
                <a:ext uri="{FF2B5EF4-FFF2-40B4-BE49-F238E27FC236}">
                  <a16:creationId xmlns:a16="http://schemas.microsoft.com/office/drawing/2014/main" id="{8CAA80DD-2D78-593C-81A4-5A6C8DE1CD0E}"/>
                </a:ext>
              </a:extLst>
            </p:cNvPr>
            <p:cNvSpPr/>
            <p:nvPr/>
          </p:nvSpPr>
          <p:spPr>
            <a:xfrm>
              <a:off x="5614774" y="2370619"/>
              <a:ext cx="130677" cy="176872"/>
            </a:xfrm>
            <a:custGeom>
              <a:avLst/>
              <a:gdLst>
                <a:gd name="connsiteX0" fmla="*/ 79308 w 130677"/>
                <a:gd name="connsiteY0" fmla="*/ 176856 h 176872"/>
                <a:gd name="connsiteX1" fmla="*/ 117287 w 130677"/>
                <a:gd name="connsiteY1" fmla="*/ 156874 h 176872"/>
                <a:gd name="connsiteX2" fmla="*/ 128142 w 130677"/>
                <a:gd name="connsiteY2" fmla="*/ 147100 h 176872"/>
                <a:gd name="connsiteX3" fmla="*/ 121874 w 130677"/>
                <a:gd name="connsiteY3" fmla="*/ 112272 h 176872"/>
                <a:gd name="connsiteX4" fmla="*/ 99081 w 130677"/>
                <a:gd name="connsiteY4" fmla="*/ 71579 h 176872"/>
                <a:gd name="connsiteX5" fmla="*/ 96351 w 130677"/>
                <a:gd name="connsiteY5" fmla="*/ 64859 h 176872"/>
                <a:gd name="connsiteX6" fmla="*/ 105397 w 130677"/>
                <a:gd name="connsiteY6" fmla="*/ 47946 h 176872"/>
                <a:gd name="connsiteX7" fmla="*/ 113183 w 130677"/>
                <a:gd name="connsiteY7" fmla="*/ 38269 h 176872"/>
                <a:gd name="connsiteX8" fmla="*/ 104606 w 130677"/>
                <a:gd name="connsiteY8" fmla="*/ 22535 h 176872"/>
                <a:gd name="connsiteX9" fmla="*/ 82717 w 130677"/>
                <a:gd name="connsiteY9" fmla="*/ 20790 h 176872"/>
                <a:gd name="connsiteX10" fmla="*/ 80326 w 130677"/>
                <a:gd name="connsiteY10" fmla="*/ 21081 h 176872"/>
                <a:gd name="connsiteX11" fmla="*/ 57985 w 130677"/>
                <a:gd name="connsiteY11" fmla="*/ 21033 h 176872"/>
                <a:gd name="connsiteX12" fmla="*/ 37291 w 130677"/>
                <a:gd name="connsiteY12" fmla="*/ 10177 h 176872"/>
                <a:gd name="connsiteX13" fmla="*/ 14740 w 130677"/>
                <a:gd name="connsiteY13" fmla="*/ 0 h 176872"/>
                <a:gd name="connsiteX14" fmla="*/ 14594 w 130677"/>
                <a:gd name="connsiteY14" fmla="*/ 646 h 176872"/>
                <a:gd name="connsiteX15" fmla="*/ 3367 w 130677"/>
                <a:gd name="connsiteY15" fmla="*/ 41629 h 176872"/>
                <a:gd name="connsiteX16" fmla="*/ 5047 w 130677"/>
                <a:gd name="connsiteY16" fmla="*/ 76749 h 176872"/>
                <a:gd name="connsiteX17" fmla="*/ 13771 w 130677"/>
                <a:gd name="connsiteY17" fmla="*/ 83275 h 176872"/>
                <a:gd name="connsiteX18" fmla="*/ 18488 w 130677"/>
                <a:gd name="connsiteY18" fmla="*/ 86280 h 176872"/>
                <a:gd name="connsiteX19" fmla="*/ 30975 w 130677"/>
                <a:gd name="connsiteY19" fmla="*/ 97491 h 176872"/>
                <a:gd name="connsiteX20" fmla="*/ 39456 w 130677"/>
                <a:gd name="connsiteY20" fmla="*/ 105584 h 176872"/>
                <a:gd name="connsiteX21" fmla="*/ 62653 w 130677"/>
                <a:gd name="connsiteY21" fmla="*/ 112304 h 176872"/>
                <a:gd name="connsiteX22" fmla="*/ 64737 w 130677"/>
                <a:gd name="connsiteY22" fmla="*/ 111464 h 176872"/>
                <a:gd name="connsiteX23" fmla="*/ 73283 w 130677"/>
                <a:gd name="connsiteY23" fmla="*/ 109784 h 176872"/>
                <a:gd name="connsiteX24" fmla="*/ 79874 w 130677"/>
                <a:gd name="connsiteY24" fmla="*/ 113483 h 176872"/>
                <a:gd name="connsiteX25" fmla="*/ 81037 w 130677"/>
                <a:gd name="connsiteY25" fmla="*/ 114436 h 176872"/>
                <a:gd name="connsiteX26" fmla="*/ 87870 w 130677"/>
                <a:gd name="connsiteY26" fmla="*/ 118491 h 176872"/>
                <a:gd name="connsiteX27" fmla="*/ 95075 w 130677"/>
                <a:gd name="connsiteY27" fmla="*/ 122707 h 176872"/>
                <a:gd name="connsiteX28" fmla="*/ 101423 w 130677"/>
                <a:gd name="connsiteY28" fmla="*/ 140380 h 176872"/>
                <a:gd name="connsiteX29" fmla="*/ 77660 w 130677"/>
                <a:gd name="connsiteY29" fmla="*/ 145356 h 176872"/>
                <a:gd name="connsiteX30" fmla="*/ 60634 w 130677"/>
                <a:gd name="connsiteY30" fmla="*/ 146890 h 176872"/>
                <a:gd name="connsiteX31" fmla="*/ 63057 w 130677"/>
                <a:gd name="connsiteY31" fmla="*/ 159054 h 176872"/>
                <a:gd name="connsiteX32" fmla="*/ 69406 w 130677"/>
                <a:gd name="connsiteY32" fmla="*/ 168795 h 176872"/>
                <a:gd name="connsiteX33" fmla="*/ 73977 w 130677"/>
                <a:gd name="connsiteY33" fmla="*/ 175483 h 176872"/>
                <a:gd name="connsiteX34" fmla="*/ 76627 w 130677"/>
                <a:gd name="connsiteY34" fmla="*/ 174126 h 176872"/>
                <a:gd name="connsiteX35" fmla="*/ 79292 w 130677"/>
                <a:gd name="connsiteY35" fmla="*/ 176872 h 176872"/>
                <a:gd name="connsiteX36" fmla="*/ 79308 w 130677"/>
                <a:gd name="connsiteY36" fmla="*/ 176856 h 176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30677" h="176872">
                  <a:moveTo>
                    <a:pt x="79308" y="176856"/>
                  </a:moveTo>
                  <a:cubicBezTo>
                    <a:pt x="92538" y="171380"/>
                    <a:pt x="105284" y="164676"/>
                    <a:pt x="117287" y="156874"/>
                  </a:cubicBezTo>
                  <a:cubicBezTo>
                    <a:pt x="121422" y="154192"/>
                    <a:pt x="125671" y="151220"/>
                    <a:pt x="128142" y="147100"/>
                  </a:cubicBezTo>
                  <a:cubicBezTo>
                    <a:pt x="134184" y="137052"/>
                    <a:pt x="128352" y="123854"/>
                    <a:pt x="121874" y="112272"/>
                  </a:cubicBezTo>
                  <a:lnTo>
                    <a:pt x="99081" y="71579"/>
                  </a:lnTo>
                  <a:cubicBezTo>
                    <a:pt x="97999" y="69641"/>
                    <a:pt x="96771" y="67460"/>
                    <a:pt x="96351" y="64859"/>
                  </a:cubicBezTo>
                  <a:cubicBezTo>
                    <a:pt x="95155" y="57460"/>
                    <a:pt x="100583" y="52404"/>
                    <a:pt x="105397" y="47946"/>
                  </a:cubicBezTo>
                  <a:cubicBezTo>
                    <a:pt x="108628" y="44941"/>
                    <a:pt x="111972" y="41823"/>
                    <a:pt x="113183" y="38269"/>
                  </a:cubicBezTo>
                  <a:cubicBezTo>
                    <a:pt x="115235" y="32211"/>
                    <a:pt x="110405" y="25249"/>
                    <a:pt x="104606" y="22535"/>
                  </a:cubicBezTo>
                  <a:cubicBezTo>
                    <a:pt x="97837" y="19369"/>
                    <a:pt x="89760" y="19983"/>
                    <a:pt x="82717" y="20790"/>
                  </a:cubicBezTo>
                  <a:lnTo>
                    <a:pt x="80326" y="21081"/>
                  </a:lnTo>
                  <a:cubicBezTo>
                    <a:pt x="73008" y="21954"/>
                    <a:pt x="65432" y="22858"/>
                    <a:pt x="57985" y="21033"/>
                  </a:cubicBezTo>
                  <a:cubicBezTo>
                    <a:pt x="50311" y="19143"/>
                    <a:pt x="43688" y="14587"/>
                    <a:pt x="37291" y="10177"/>
                  </a:cubicBezTo>
                  <a:cubicBezTo>
                    <a:pt x="29844" y="5040"/>
                    <a:pt x="22752" y="242"/>
                    <a:pt x="14740" y="0"/>
                  </a:cubicBezTo>
                  <a:cubicBezTo>
                    <a:pt x="14691" y="210"/>
                    <a:pt x="14659" y="420"/>
                    <a:pt x="14594" y="646"/>
                  </a:cubicBezTo>
                  <a:lnTo>
                    <a:pt x="3367" y="41629"/>
                  </a:lnTo>
                  <a:cubicBezTo>
                    <a:pt x="-251" y="54827"/>
                    <a:pt x="-2545" y="68203"/>
                    <a:pt x="5047" y="76749"/>
                  </a:cubicBezTo>
                  <a:cubicBezTo>
                    <a:pt x="7373" y="79366"/>
                    <a:pt x="10491" y="81272"/>
                    <a:pt x="13771" y="83275"/>
                  </a:cubicBezTo>
                  <a:cubicBezTo>
                    <a:pt x="15321" y="84228"/>
                    <a:pt x="16937" y="85197"/>
                    <a:pt x="18488" y="86280"/>
                  </a:cubicBezTo>
                  <a:cubicBezTo>
                    <a:pt x="23172" y="89543"/>
                    <a:pt x="27130" y="93581"/>
                    <a:pt x="30975" y="97491"/>
                  </a:cubicBezTo>
                  <a:cubicBezTo>
                    <a:pt x="33689" y="100253"/>
                    <a:pt x="36500" y="103112"/>
                    <a:pt x="39456" y="105584"/>
                  </a:cubicBezTo>
                  <a:cubicBezTo>
                    <a:pt x="47355" y="112159"/>
                    <a:pt x="56030" y="114679"/>
                    <a:pt x="62653" y="112304"/>
                  </a:cubicBezTo>
                  <a:cubicBezTo>
                    <a:pt x="63348" y="112062"/>
                    <a:pt x="64042" y="111755"/>
                    <a:pt x="64737" y="111464"/>
                  </a:cubicBezTo>
                  <a:cubicBezTo>
                    <a:pt x="67225" y="110398"/>
                    <a:pt x="70068" y="109186"/>
                    <a:pt x="73283" y="109784"/>
                  </a:cubicBezTo>
                  <a:cubicBezTo>
                    <a:pt x="76061" y="110301"/>
                    <a:pt x="78080" y="111997"/>
                    <a:pt x="79874" y="113483"/>
                  </a:cubicBezTo>
                  <a:cubicBezTo>
                    <a:pt x="80261" y="113806"/>
                    <a:pt x="80649" y="114129"/>
                    <a:pt x="81037" y="114436"/>
                  </a:cubicBezTo>
                  <a:cubicBezTo>
                    <a:pt x="83056" y="116019"/>
                    <a:pt x="85398" y="117215"/>
                    <a:pt x="87870" y="118491"/>
                  </a:cubicBezTo>
                  <a:cubicBezTo>
                    <a:pt x="90277" y="119735"/>
                    <a:pt x="92781" y="121011"/>
                    <a:pt x="95075" y="122707"/>
                  </a:cubicBezTo>
                  <a:cubicBezTo>
                    <a:pt x="100486" y="126697"/>
                    <a:pt x="104396" y="134048"/>
                    <a:pt x="101423" y="140380"/>
                  </a:cubicBezTo>
                  <a:cubicBezTo>
                    <a:pt x="98225" y="147197"/>
                    <a:pt x="89340" y="149055"/>
                    <a:pt x="77660" y="145356"/>
                  </a:cubicBezTo>
                  <a:cubicBezTo>
                    <a:pt x="73493" y="144031"/>
                    <a:pt x="63509" y="141543"/>
                    <a:pt x="60634" y="146890"/>
                  </a:cubicBezTo>
                  <a:cubicBezTo>
                    <a:pt x="58873" y="150169"/>
                    <a:pt x="60763" y="154676"/>
                    <a:pt x="63057" y="159054"/>
                  </a:cubicBezTo>
                  <a:cubicBezTo>
                    <a:pt x="64931" y="162641"/>
                    <a:pt x="67209" y="165774"/>
                    <a:pt x="69406" y="168795"/>
                  </a:cubicBezTo>
                  <a:cubicBezTo>
                    <a:pt x="70973" y="170944"/>
                    <a:pt x="72540" y="173141"/>
                    <a:pt x="73977" y="175483"/>
                  </a:cubicBezTo>
                  <a:cubicBezTo>
                    <a:pt x="74543" y="174611"/>
                    <a:pt x="75528" y="174045"/>
                    <a:pt x="76627" y="174126"/>
                  </a:cubicBezTo>
                  <a:cubicBezTo>
                    <a:pt x="78097" y="174239"/>
                    <a:pt x="79227" y="175435"/>
                    <a:pt x="79292" y="176872"/>
                  </a:cubicBezTo>
                  <a:lnTo>
                    <a:pt x="79308" y="1768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0" name="Free-form: Shape 379">
              <a:extLst>
                <a:ext uri="{FF2B5EF4-FFF2-40B4-BE49-F238E27FC236}">
                  <a16:creationId xmlns:a16="http://schemas.microsoft.com/office/drawing/2014/main" id="{31158E19-4943-CA08-2BED-71FD67F84D63}"/>
                </a:ext>
              </a:extLst>
            </p:cNvPr>
            <p:cNvSpPr/>
            <p:nvPr/>
          </p:nvSpPr>
          <p:spPr>
            <a:xfrm>
              <a:off x="5164564" y="3753017"/>
              <a:ext cx="17578" cy="18232"/>
            </a:xfrm>
            <a:custGeom>
              <a:avLst/>
              <a:gdLst>
                <a:gd name="connsiteX0" fmla="*/ 14652 w 17578"/>
                <a:gd name="connsiteY0" fmla="*/ 5848 h 18232"/>
                <a:gd name="connsiteX1" fmla="*/ 11777 w 17578"/>
                <a:gd name="connsiteY1" fmla="*/ 921 h 18232"/>
                <a:gd name="connsiteX2" fmla="*/ 5929 w 17578"/>
                <a:gd name="connsiteY2" fmla="*/ 0 h 18232"/>
                <a:gd name="connsiteX3" fmla="*/ 614 w 17578"/>
                <a:gd name="connsiteY3" fmla="*/ 2181 h 18232"/>
                <a:gd name="connsiteX4" fmla="*/ 3360 w 17578"/>
                <a:gd name="connsiteY4" fmla="*/ 12084 h 18232"/>
                <a:gd name="connsiteX5" fmla="*/ 10097 w 17578"/>
                <a:gd name="connsiteY5" fmla="*/ 17753 h 18232"/>
                <a:gd name="connsiteX6" fmla="*/ 16542 w 17578"/>
                <a:gd name="connsiteY6" fmla="*/ 16752 h 18232"/>
                <a:gd name="connsiteX7" fmla="*/ 16477 w 17578"/>
                <a:gd name="connsiteY7" fmla="*/ 9644 h 18232"/>
                <a:gd name="connsiteX8" fmla="*/ 14652 w 17578"/>
                <a:gd name="connsiteY8" fmla="*/ 5864 h 18232"/>
                <a:gd name="connsiteX9" fmla="*/ 14652 w 17578"/>
                <a:gd name="connsiteY9" fmla="*/ 5848 h 1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578" h="18232">
                  <a:moveTo>
                    <a:pt x="14652" y="5848"/>
                  </a:moveTo>
                  <a:cubicBezTo>
                    <a:pt x="13796" y="3861"/>
                    <a:pt x="12988" y="1971"/>
                    <a:pt x="11777" y="921"/>
                  </a:cubicBezTo>
                  <a:cubicBezTo>
                    <a:pt x="10452" y="549"/>
                    <a:pt x="8158" y="0"/>
                    <a:pt x="5929" y="0"/>
                  </a:cubicBezTo>
                  <a:cubicBezTo>
                    <a:pt x="3699" y="0"/>
                    <a:pt x="1680" y="517"/>
                    <a:pt x="614" y="2181"/>
                  </a:cubicBezTo>
                  <a:cubicBezTo>
                    <a:pt x="-1050" y="4814"/>
                    <a:pt x="937" y="9030"/>
                    <a:pt x="3360" y="12084"/>
                  </a:cubicBezTo>
                  <a:cubicBezTo>
                    <a:pt x="5783" y="15153"/>
                    <a:pt x="7867" y="16897"/>
                    <a:pt x="10097" y="17753"/>
                  </a:cubicBezTo>
                  <a:cubicBezTo>
                    <a:pt x="12164" y="18545"/>
                    <a:pt x="15040" y="18448"/>
                    <a:pt x="16542" y="16752"/>
                  </a:cubicBezTo>
                  <a:cubicBezTo>
                    <a:pt x="18141" y="14926"/>
                    <a:pt x="17705" y="11728"/>
                    <a:pt x="16477" y="9644"/>
                  </a:cubicBezTo>
                  <a:cubicBezTo>
                    <a:pt x="15767" y="8433"/>
                    <a:pt x="15201" y="7124"/>
                    <a:pt x="14652" y="5864"/>
                  </a:cubicBezTo>
                  <a:lnTo>
                    <a:pt x="14652" y="584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1" name="Free-form: Shape 380">
              <a:extLst>
                <a:ext uri="{FF2B5EF4-FFF2-40B4-BE49-F238E27FC236}">
                  <a16:creationId xmlns:a16="http://schemas.microsoft.com/office/drawing/2014/main" id="{373309F6-B3BD-C1E9-5F06-AFFA494A970D}"/>
                </a:ext>
              </a:extLst>
            </p:cNvPr>
            <p:cNvSpPr/>
            <p:nvPr/>
          </p:nvSpPr>
          <p:spPr>
            <a:xfrm>
              <a:off x="5963809" y="3305901"/>
              <a:ext cx="243977" cy="297866"/>
            </a:xfrm>
            <a:custGeom>
              <a:avLst/>
              <a:gdLst>
                <a:gd name="connsiteX0" fmla="*/ 243977 w 243977"/>
                <a:gd name="connsiteY0" fmla="*/ 93581 h 297866"/>
                <a:gd name="connsiteX1" fmla="*/ 225077 w 243977"/>
                <a:gd name="connsiteY1" fmla="*/ 81126 h 297866"/>
                <a:gd name="connsiteX2" fmla="*/ 222201 w 243977"/>
                <a:gd name="connsiteY2" fmla="*/ 59544 h 297866"/>
                <a:gd name="connsiteX3" fmla="*/ 195660 w 243977"/>
                <a:gd name="connsiteY3" fmla="*/ 39836 h 297866"/>
                <a:gd name="connsiteX4" fmla="*/ 192251 w 243977"/>
                <a:gd name="connsiteY4" fmla="*/ 33568 h 297866"/>
                <a:gd name="connsiteX5" fmla="*/ 176485 w 243977"/>
                <a:gd name="connsiteY5" fmla="*/ 13182 h 297866"/>
                <a:gd name="connsiteX6" fmla="*/ 153723 w 243977"/>
                <a:gd name="connsiteY6" fmla="*/ 8513 h 297866"/>
                <a:gd name="connsiteX7" fmla="*/ 130978 w 243977"/>
                <a:gd name="connsiteY7" fmla="*/ 4555 h 297866"/>
                <a:gd name="connsiteX8" fmla="*/ 123596 w 243977"/>
                <a:gd name="connsiteY8" fmla="*/ 0 h 297866"/>
                <a:gd name="connsiteX9" fmla="*/ 119153 w 243977"/>
                <a:gd name="connsiteY9" fmla="*/ 20661 h 297866"/>
                <a:gd name="connsiteX10" fmla="*/ 110107 w 243977"/>
                <a:gd name="connsiteY10" fmla="*/ 27074 h 297866"/>
                <a:gd name="connsiteX11" fmla="*/ 102078 w 243977"/>
                <a:gd name="connsiteY11" fmla="*/ 32954 h 297866"/>
                <a:gd name="connsiteX12" fmla="*/ 100172 w 243977"/>
                <a:gd name="connsiteY12" fmla="*/ 49706 h 297866"/>
                <a:gd name="connsiteX13" fmla="*/ 100350 w 243977"/>
                <a:gd name="connsiteY13" fmla="*/ 63664 h 297866"/>
                <a:gd name="connsiteX14" fmla="*/ 76539 w 243977"/>
                <a:gd name="connsiteY14" fmla="*/ 83081 h 297866"/>
                <a:gd name="connsiteX15" fmla="*/ 72807 w 243977"/>
                <a:gd name="connsiteY15" fmla="*/ 82806 h 297866"/>
                <a:gd name="connsiteX16" fmla="*/ 65941 w 243977"/>
                <a:gd name="connsiteY16" fmla="*/ 83081 h 297866"/>
                <a:gd name="connsiteX17" fmla="*/ 61418 w 243977"/>
                <a:gd name="connsiteY17" fmla="*/ 86651 h 297866"/>
                <a:gd name="connsiteX18" fmla="*/ 65 w 243977"/>
                <a:gd name="connsiteY18" fmla="*/ 160427 h 297866"/>
                <a:gd name="connsiteX19" fmla="*/ 0 w 243977"/>
                <a:gd name="connsiteY19" fmla="*/ 160508 h 297866"/>
                <a:gd name="connsiteX20" fmla="*/ 6413 w 243977"/>
                <a:gd name="connsiteY20" fmla="*/ 169651 h 297866"/>
                <a:gd name="connsiteX21" fmla="*/ 11082 w 243977"/>
                <a:gd name="connsiteY21" fmla="*/ 186274 h 297866"/>
                <a:gd name="connsiteX22" fmla="*/ 11776 w 243977"/>
                <a:gd name="connsiteY22" fmla="*/ 190151 h 297866"/>
                <a:gd name="connsiteX23" fmla="*/ 52679 w 243977"/>
                <a:gd name="connsiteY23" fmla="*/ 256141 h 297866"/>
                <a:gd name="connsiteX24" fmla="*/ 54359 w 243977"/>
                <a:gd name="connsiteY24" fmla="*/ 257401 h 297866"/>
                <a:gd name="connsiteX25" fmla="*/ 68122 w 243977"/>
                <a:gd name="connsiteY25" fmla="*/ 273313 h 297866"/>
                <a:gd name="connsiteX26" fmla="*/ 69156 w 243977"/>
                <a:gd name="connsiteY26" fmla="*/ 279791 h 297866"/>
                <a:gd name="connsiteX27" fmla="*/ 70190 w 243977"/>
                <a:gd name="connsiteY27" fmla="*/ 285768 h 297866"/>
                <a:gd name="connsiteX28" fmla="*/ 77266 w 243977"/>
                <a:gd name="connsiteY28" fmla="*/ 291923 h 297866"/>
                <a:gd name="connsiteX29" fmla="*/ 90318 w 243977"/>
                <a:gd name="connsiteY29" fmla="*/ 290016 h 297866"/>
                <a:gd name="connsiteX30" fmla="*/ 99171 w 243977"/>
                <a:gd name="connsiteY30" fmla="*/ 266593 h 297866"/>
                <a:gd name="connsiteX31" fmla="*/ 107991 w 243977"/>
                <a:gd name="connsiteY31" fmla="*/ 243250 h 297866"/>
                <a:gd name="connsiteX32" fmla="*/ 120010 w 243977"/>
                <a:gd name="connsiteY32" fmla="*/ 247289 h 297866"/>
                <a:gd name="connsiteX33" fmla="*/ 134952 w 243977"/>
                <a:gd name="connsiteY33" fmla="*/ 270922 h 297866"/>
                <a:gd name="connsiteX34" fmla="*/ 140655 w 243977"/>
                <a:gd name="connsiteY34" fmla="*/ 282812 h 297866"/>
                <a:gd name="connsiteX35" fmla="*/ 159006 w 243977"/>
                <a:gd name="connsiteY35" fmla="*/ 297480 h 297866"/>
                <a:gd name="connsiteX36" fmla="*/ 169522 w 243977"/>
                <a:gd name="connsiteY36" fmla="*/ 295606 h 297866"/>
                <a:gd name="connsiteX37" fmla="*/ 176339 w 243977"/>
                <a:gd name="connsiteY37" fmla="*/ 287044 h 297866"/>
                <a:gd name="connsiteX38" fmla="*/ 187793 w 243977"/>
                <a:gd name="connsiteY38" fmla="*/ 268838 h 297866"/>
                <a:gd name="connsiteX39" fmla="*/ 207355 w 243977"/>
                <a:gd name="connsiteY39" fmla="*/ 235076 h 297866"/>
                <a:gd name="connsiteX40" fmla="*/ 225755 w 243977"/>
                <a:gd name="connsiteY40" fmla="*/ 158311 h 297866"/>
                <a:gd name="connsiteX41" fmla="*/ 243977 w 243977"/>
                <a:gd name="connsiteY41" fmla="*/ 93597 h 297866"/>
                <a:gd name="connsiteX42" fmla="*/ 243977 w 243977"/>
                <a:gd name="connsiteY42" fmla="*/ 93581 h 297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43977" h="297866">
                  <a:moveTo>
                    <a:pt x="243977" y="93581"/>
                  </a:moveTo>
                  <a:cubicBezTo>
                    <a:pt x="236013" y="94114"/>
                    <a:pt x="228324" y="88137"/>
                    <a:pt x="225077" y="81126"/>
                  </a:cubicBezTo>
                  <a:cubicBezTo>
                    <a:pt x="221894" y="74212"/>
                    <a:pt x="221846" y="66378"/>
                    <a:pt x="222201" y="59544"/>
                  </a:cubicBezTo>
                  <a:cubicBezTo>
                    <a:pt x="208131" y="59544"/>
                    <a:pt x="198454" y="44699"/>
                    <a:pt x="195660" y="39836"/>
                  </a:cubicBezTo>
                  <a:cubicBezTo>
                    <a:pt x="194497" y="37801"/>
                    <a:pt x="193366" y="35685"/>
                    <a:pt x="192251" y="33568"/>
                  </a:cubicBezTo>
                  <a:cubicBezTo>
                    <a:pt x="187873" y="25314"/>
                    <a:pt x="183738" y="17527"/>
                    <a:pt x="176485" y="13182"/>
                  </a:cubicBezTo>
                  <a:cubicBezTo>
                    <a:pt x="169958" y="9256"/>
                    <a:pt x="162059" y="8901"/>
                    <a:pt x="153723" y="8513"/>
                  </a:cubicBezTo>
                  <a:cubicBezTo>
                    <a:pt x="146082" y="8158"/>
                    <a:pt x="138183" y="7786"/>
                    <a:pt x="130978" y="4555"/>
                  </a:cubicBezTo>
                  <a:cubicBezTo>
                    <a:pt x="128216" y="3311"/>
                    <a:pt x="125777" y="1777"/>
                    <a:pt x="123596" y="0"/>
                  </a:cubicBezTo>
                  <a:cubicBezTo>
                    <a:pt x="124824" y="7560"/>
                    <a:pt x="124258" y="14959"/>
                    <a:pt x="119153" y="20661"/>
                  </a:cubicBezTo>
                  <a:cubicBezTo>
                    <a:pt x="116569" y="23553"/>
                    <a:pt x="113289" y="25346"/>
                    <a:pt x="110107" y="27074"/>
                  </a:cubicBezTo>
                  <a:cubicBezTo>
                    <a:pt x="106941" y="28803"/>
                    <a:pt x="103952" y="30434"/>
                    <a:pt x="102078" y="32954"/>
                  </a:cubicBezTo>
                  <a:cubicBezTo>
                    <a:pt x="98815" y="37332"/>
                    <a:pt x="99478" y="43342"/>
                    <a:pt x="100172" y="49706"/>
                  </a:cubicBezTo>
                  <a:cubicBezTo>
                    <a:pt x="100673" y="54294"/>
                    <a:pt x="101206" y="59044"/>
                    <a:pt x="100350" y="63664"/>
                  </a:cubicBezTo>
                  <a:cubicBezTo>
                    <a:pt x="98347" y="74616"/>
                    <a:pt x="87620" y="83356"/>
                    <a:pt x="76539" y="83081"/>
                  </a:cubicBezTo>
                  <a:cubicBezTo>
                    <a:pt x="75311" y="83049"/>
                    <a:pt x="74051" y="82936"/>
                    <a:pt x="72807" y="82806"/>
                  </a:cubicBezTo>
                  <a:cubicBezTo>
                    <a:pt x="70271" y="82548"/>
                    <a:pt x="67864" y="82306"/>
                    <a:pt x="65941" y="83081"/>
                  </a:cubicBezTo>
                  <a:cubicBezTo>
                    <a:pt x="64278" y="83743"/>
                    <a:pt x="62759" y="85294"/>
                    <a:pt x="61418" y="86651"/>
                  </a:cubicBezTo>
                  <a:cubicBezTo>
                    <a:pt x="38996" y="109396"/>
                    <a:pt x="18351" y="134225"/>
                    <a:pt x="65" y="160427"/>
                  </a:cubicBezTo>
                  <a:cubicBezTo>
                    <a:pt x="49" y="160460"/>
                    <a:pt x="16" y="160476"/>
                    <a:pt x="0" y="160508"/>
                  </a:cubicBezTo>
                  <a:cubicBezTo>
                    <a:pt x="2342" y="163319"/>
                    <a:pt x="4669" y="166243"/>
                    <a:pt x="6413" y="169651"/>
                  </a:cubicBezTo>
                  <a:cubicBezTo>
                    <a:pt x="9111" y="174934"/>
                    <a:pt x="10113" y="180701"/>
                    <a:pt x="11082" y="186274"/>
                  </a:cubicBezTo>
                  <a:cubicBezTo>
                    <a:pt x="11308" y="187566"/>
                    <a:pt x="11534" y="188875"/>
                    <a:pt x="11776" y="190151"/>
                  </a:cubicBezTo>
                  <a:cubicBezTo>
                    <a:pt x="16752" y="216095"/>
                    <a:pt x="31646" y="240148"/>
                    <a:pt x="52679" y="256141"/>
                  </a:cubicBezTo>
                  <a:lnTo>
                    <a:pt x="54359" y="257401"/>
                  </a:lnTo>
                  <a:cubicBezTo>
                    <a:pt x="59819" y="261488"/>
                    <a:pt x="65990" y="266124"/>
                    <a:pt x="68122" y="273313"/>
                  </a:cubicBezTo>
                  <a:cubicBezTo>
                    <a:pt x="68768" y="275510"/>
                    <a:pt x="68962" y="277675"/>
                    <a:pt x="69156" y="279791"/>
                  </a:cubicBezTo>
                  <a:cubicBezTo>
                    <a:pt x="69350" y="281955"/>
                    <a:pt x="69528" y="283991"/>
                    <a:pt x="70190" y="285768"/>
                  </a:cubicBezTo>
                  <a:cubicBezTo>
                    <a:pt x="71628" y="289677"/>
                    <a:pt x="75246" y="291309"/>
                    <a:pt x="77266" y="291923"/>
                  </a:cubicBezTo>
                  <a:cubicBezTo>
                    <a:pt x="81692" y="293280"/>
                    <a:pt x="86813" y="292536"/>
                    <a:pt x="90318" y="290016"/>
                  </a:cubicBezTo>
                  <a:cubicBezTo>
                    <a:pt x="97685" y="284718"/>
                    <a:pt x="99720" y="274444"/>
                    <a:pt x="99171" y="266593"/>
                  </a:cubicBezTo>
                  <a:cubicBezTo>
                    <a:pt x="98654" y="259210"/>
                    <a:pt x="97668" y="245479"/>
                    <a:pt x="107991" y="243250"/>
                  </a:cubicBezTo>
                  <a:cubicBezTo>
                    <a:pt x="111803" y="242426"/>
                    <a:pt x="115955" y="243815"/>
                    <a:pt x="120010" y="247289"/>
                  </a:cubicBezTo>
                  <a:cubicBezTo>
                    <a:pt x="127360" y="253589"/>
                    <a:pt x="131221" y="262409"/>
                    <a:pt x="134952" y="270922"/>
                  </a:cubicBezTo>
                  <a:cubicBezTo>
                    <a:pt x="136713" y="274928"/>
                    <a:pt x="138522" y="279080"/>
                    <a:pt x="140655" y="282812"/>
                  </a:cubicBezTo>
                  <a:cubicBezTo>
                    <a:pt x="144806" y="290081"/>
                    <a:pt x="152189" y="295977"/>
                    <a:pt x="159006" y="297480"/>
                  </a:cubicBezTo>
                  <a:cubicBezTo>
                    <a:pt x="162996" y="298368"/>
                    <a:pt x="166534" y="297722"/>
                    <a:pt x="169522" y="295606"/>
                  </a:cubicBezTo>
                  <a:cubicBezTo>
                    <a:pt x="172252" y="293667"/>
                    <a:pt x="174142" y="290711"/>
                    <a:pt x="176339" y="287044"/>
                  </a:cubicBezTo>
                  <a:cubicBezTo>
                    <a:pt x="180426" y="280243"/>
                    <a:pt x="184174" y="274444"/>
                    <a:pt x="187793" y="268838"/>
                  </a:cubicBezTo>
                  <a:cubicBezTo>
                    <a:pt x="194820" y="257966"/>
                    <a:pt x="200894" y="248532"/>
                    <a:pt x="207355" y="235076"/>
                  </a:cubicBezTo>
                  <a:cubicBezTo>
                    <a:pt x="205756" y="208308"/>
                    <a:pt x="215917" y="182898"/>
                    <a:pt x="225755" y="158311"/>
                  </a:cubicBezTo>
                  <a:cubicBezTo>
                    <a:pt x="234139" y="137375"/>
                    <a:pt x="242782" y="115777"/>
                    <a:pt x="243977" y="93597"/>
                  </a:cubicBezTo>
                  <a:lnTo>
                    <a:pt x="243977" y="9358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2" name="Free-form: Shape 381">
              <a:extLst>
                <a:ext uri="{FF2B5EF4-FFF2-40B4-BE49-F238E27FC236}">
                  <a16:creationId xmlns:a16="http://schemas.microsoft.com/office/drawing/2014/main" id="{0E294522-9FD8-B397-91FF-DF9DDBC922A9}"/>
                </a:ext>
              </a:extLst>
            </p:cNvPr>
            <p:cNvSpPr/>
            <p:nvPr/>
          </p:nvSpPr>
          <p:spPr>
            <a:xfrm>
              <a:off x="5515626" y="2382543"/>
              <a:ext cx="53330" cy="37186"/>
            </a:xfrm>
            <a:custGeom>
              <a:avLst/>
              <a:gdLst>
                <a:gd name="connsiteX0" fmla="*/ 46897 w 53330"/>
                <a:gd name="connsiteY0" fmla="*/ 26493 h 37186"/>
                <a:gd name="connsiteX1" fmla="*/ 52551 w 53330"/>
                <a:gd name="connsiteY1" fmla="*/ 20839 h 37186"/>
                <a:gd name="connsiteX2" fmla="*/ 52518 w 53330"/>
                <a:gd name="connsiteY2" fmla="*/ 15282 h 37186"/>
                <a:gd name="connsiteX3" fmla="*/ 47543 w 53330"/>
                <a:gd name="connsiteY3" fmla="*/ 12520 h 37186"/>
                <a:gd name="connsiteX4" fmla="*/ 42713 w 53330"/>
                <a:gd name="connsiteY4" fmla="*/ 10856 h 37186"/>
                <a:gd name="connsiteX5" fmla="*/ 32584 w 53330"/>
                <a:gd name="connsiteY5" fmla="*/ 5767 h 37186"/>
                <a:gd name="connsiteX6" fmla="*/ 21809 w 53330"/>
                <a:gd name="connsiteY6" fmla="*/ 97 h 37186"/>
                <a:gd name="connsiteX7" fmla="*/ 20307 w 53330"/>
                <a:gd name="connsiteY7" fmla="*/ 0 h 37186"/>
                <a:gd name="connsiteX8" fmla="*/ 11228 w 53330"/>
                <a:gd name="connsiteY8" fmla="*/ 4701 h 37186"/>
                <a:gd name="connsiteX9" fmla="*/ 10372 w 53330"/>
                <a:gd name="connsiteY9" fmla="*/ 6704 h 37186"/>
                <a:gd name="connsiteX10" fmla="*/ 6382 w 53330"/>
                <a:gd name="connsiteY10" fmla="*/ 12633 h 37186"/>
                <a:gd name="connsiteX11" fmla="*/ 3814 w 53330"/>
                <a:gd name="connsiteY11" fmla="*/ 13860 h 37186"/>
                <a:gd name="connsiteX12" fmla="*/ 2699 w 53330"/>
                <a:gd name="connsiteY12" fmla="*/ 14313 h 37186"/>
                <a:gd name="connsiteX13" fmla="*/ 1 w 53330"/>
                <a:gd name="connsiteY13" fmla="*/ 20451 h 37186"/>
                <a:gd name="connsiteX14" fmla="*/ 19128 w 53330"/>
                <a:gd name="connsiteY14" fmla="*/ 37155 h 37186"/>
                <a:gd name="connsiteX15" fmla="*/ 46913 w 53330"/>
                <a:gd name="connsiteY15" fmla="*/ 26493 h 37186"/>
                <a:gd name="connsiteX16" fmla="*/ 46897 w 53330"/>
                <a:gd name="connsiteY16" fmla="*/ 26493 h 37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330" h="37186">
                  <a:moveTo>
                    <a:pt x="46897" y="26493"/>
                  </a:moveTo>
                  <a:cubicBezTo>
                    <a:pt x="48997" y="24958"/>
                    <a:pt x="51339" y="23117"/>
                    <a:pt x="52551" y="20839"/>
                  </a:cubicBezTo>
                  <a:cubicBezTo>
                    <a:pt x="53455" y="19159"/>
                    <a:pt x="53730" y="16703"/>
                    <a:pt x="52518" y="15282"/>
                  </a:cubicBezTo>
                  <a:cubicBezTo>
                    <a:pt x="50935" y="13408"/>
                    <a:pt x="49724" y="13101"/>
                    <a:pt x="47543" y="12520"/>
                  </a:cubicBezTo>
                  <a:cubicBezTo>
                    <a:pt x="46202" y="12180"/>
                    <a:pt x="44587" y="11744"/>
                    <a:pt x="42713" y="10856"/>
                  </a:cubicBezTo>
                  <a:cubicBezTo>
                    <a:pt x="40548" y="10646"/>
                    <a:pt x="37737" y="8949"/>
                    <a:pt x="32584" y="5767"/>
                  </a:cubicBezTo>
                  <a:cubicBezTo>
                    <a:pt x="28917" y="3489"/>
                    <a:pt x="23893" y="372"/>
                    <a:pt x="21809" y="97"/>
                  </a:cubicBezTo>
                  <a:cubicBezTo>
                    <a:pt x="21325" y="32"/>
                    <a:pt x="20824" y="0"/>
                    <a:pt x="20307" y="0"/>
                  </a:cubicBezTo>
                  <a:cubicBezTo>
                    <a:pt x="16818" y="0"/>
                    <a:pt x="12908" y="1486"/>
                    <a:pt x="11228" y="4701"/>
                  </a:cubicBezTo>
                  <a:cubicBezTo>
                    <a:pt x="10905" y="5331"/>
                    <a:pt x="10631" y="6026"/>
                    <a:pt x="10372" y="6704"/>
                  </a:cubicBezTo>
                  <a:cubicBezTo>
                    <a:pt x="9613" y="8659"/>
                    <a:pt x="8660" y="11098"/>
                    <a:pt x="6382" y="12633"/>
                  </a:cubicBezTo>
                  <a:cubicBezTo>
                    <a:pt x="5494" y="13230"/>
                    <a:pt x="4605" y="13570"/>
                    <a:pt x="3814" y="13860"/>
                  </a:cubicBezTo>
                  <a:cubicBezTo>
                    <a:pt x="3442" y="14006"/>
                    <a:pt x="3054" y="14135"/>
                    <a:pt x="2699" y="14313"/>
                  </a:cubicBezTo>
                  <a:cubicBezTo>
                    <a:pt x="647" y="15379"/>
                    <a:pt x="-31" y="18287"/>
                    <a:pt x="1" y="20451"/>
                  </a:cubicBezTo>
                  <a:cubicBezTo>
                    <a:pt x="163" y="29756"/>
                    <a:pt x="10211" y="36719"/>
                    <a:pt x="19128" y="37155"/>
                  </a:cubicBezTo>
                  <a:cubicBezTo>
                    <a:pt x="27496" y="37559"/>
                    <a:pt x="36590" y="34069"/>
                    <a:pt x="46913" y="26493"/>
                  </a:cubicBezTo>
                  <a:lnTo>
                    <a:pt x="46897" y="2649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3" name="Free-form: Shape 382">
              <a:extLst>
                <a:ext uri="{FF2B5EF4-FFF2-40B4-BE49-F238E27FC236}">
                  <a16:creationId xmlns:a16="http://schemas.microsoft.com/office/drawing/2014/main" id="{D4CFE0C2-F074-1D00-41AE-A5B3AD58E6BB}"/>
                </a:ext>
              </a:extLst>
            </p:cNvPr>
            <p:cNvSpPr/>
            <p:nvPr/>
          </p:nvSpPr>
          <p:spPr>
            <a:xfrm>
              <a:off x="5524274" y="3709288"/>
              <a:ext cx="18363" cy="19598"/>
            </a:xfrm>
            <a:custGeom>
              <a:avLst/>
              <a:gdLst>
                <a:gd name="connsiteX0" fmla="*/ 4600 w 18363"/>
                <a:gd name="connsiteY0" fmla="*/ 19466 h 19598"/>
                <a:gd name="connsiteX1" fmla="*/ 12806 w 18363"/>
                <a:gd name="connsiteY1" fmla="*/ 16800 h 19598"/>
                <a:gd name="connsiteX2" fmla="*/ 18363 w 18363"/>
                <a:gd name="connsiteY2" fmla="*/ 8481 h 19598"/>
                <a:gd name="connsiteX3" fmla="*/ 14228 w 18363"/>
                <a:gd name="connsiteY3" fmla="*/ 4232 h 19598"/>
                <a:gd name="connsiteX4" fmla="*/ 9188 w 18363"/>
                <a:gd name="connsiteY4" fmla="*/ 49 h 19598"/>
                <a:gd name="connsiteX5" fmla="*/ 8767 w 18363"/>
                <a:gd name="connsiteY5" fmla="*/ 0 h 19598"/>
                <a:gd name="connsiteX6" fmla="*/ 1757 w 18363"/>
                <a:gd name="connsiteY6" fmla="*/ 7851 h 19598"/>
                <a:gd name="connsiteX7" fmla="*/ 884 w 18363"/>
                <a:gd name="connsiteY7" fmla="*/ 9321 h 19598"/>
                <a:gd name="connsiteX8" fmla="*/ 674 w 18363"/>
                <a:gd name="connsiteY8" fmla="*/ 15880 h 19598"/>
                <a:gd name="connsiteX9" fmla="*/ 4583 w 18363"/>
                <a:gd name="connsiteY9" fmla="*/ 19450 h 19598"/>
                <a:gd name="connsiteX10" fmla="*/ 4600 w 18363"/>
                <a:gd name="connsiteY10" fmla="*/ 19466 h 19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63" h="19598">
                  <a:moveTo>
                    <a:pt x="4600" y="19466"/>
                  </a:moveTo>
                  <a:cubicBezTo>
                    <a:pt x="7507" y="20096"/>
                    <a:pt x="10674" y="18367"/>
                    <a:pt x="12806" y="16800"/>
                  </a:cubicBezTo>
                  <a:cubicBezTo>
                    <a:pt x="14825" y="15314"/>
                    <a:pt x="18250" y="12261"/>
                    <a:pt x="18363" y="8481"/>
                  </a:cubicBezTo>
                  <a:cubicBezTo>
                    <a:pt x="18395" y="7286"/>
                    <a:pt x="16376" y="5815"/>
                    <a:pt x="14228" y="4232"/>
                  </a:cubicBezTo>
                  <a:cubicBezTo>
                    <a:pt x="12612" y="3053"/>
                    <a:pt x="10803" y="1728"/>
                    <a:pt x="9188" y="49"/>
                  </a:cubicBezTo>
                  <a:cubicBezTo>
                    <a:pt x="9042" y="16"/>
                    <a:pt x="8913" y="0"/>
                    <a:pt x="8767" y="0"/>
                  </a:cubicBezTo>
                  <a:cubicBezTo>
                    <a:pt x="6603" y="0"/>
                    <a:pt x="4293" y="3570"/>
                    <a:pt x="1757" y="7851"/>
                  </a:cubicBezTo>
                  <a:lnTo>
                    <a:pt x="884" y="9321"/>
                  </a:lnTo>
                  <a:cubicBezTo>
                    <a:pt x="-214" y="11130"/>
                    <a:pt x="-295" y="13634"/>
                    <a:pt x="674" y="15880"/>
                  </a:cubicBezTo>
                  <a:cubicBezTo>
                    <a:pt x="1498" y="17786"/>
                    <a:pt x="2920" y="19094"/>
                    <a:pt x="4583" y="19450"/>
                  </a:cubicBezTo>
                  <a:lnTo>
                    <a:pt x="4600" y="194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4" name="Free-form: Shape 383">
              <a:extLst>
                <a:ext uri="{FF2B5EF4-FFF2-40B4-BE49-F238E27FC236}">
                  <a16:creationId xmlns:a16="http://schemas.microsoft.com/office/drawing/2014/main" id="{2429896D-B04A-239A-888F-E32621FF1019}"/>
                </a:ext>
              </a:extLst>
            </p:cNvPr>
            <p:cNvSpPr/>
            <p:nvPr/>
          </p:nvSpPr>
          <p:spPr>
            <a:xfrm>
              <a:off x="5578413" y="2700264"/>
              <a:ext cx="16022" cy="16459"/>
            </a:xfrm>
            <a:custGeom>
              <a:avLst/>
              <a:gdLst>
                <a:gd name="connsiteX0" fmla="*/ 5013 w 16022"/>
                <a:gd name="connsiteY0" fmla="*/ 3667 h 16459"/>
                <a:gd name="connsiteX1" fmla="*/ 167 w 16022"/>
                <a:gd name="connsiteY1" fmla="*/ 12374 h 16459"/>
                <a:gd name="connsiteX2" fmla="*/ 3365 w 16022"/>
                <a:gd name="connsiteY2" fmla="*/ 15702 h 16459"/>
                <a:gd name="connsiteX3" fmla="*/ 15223 w 16022"/>
                <a:gd name="connsiteY3" fmla="*/ 11599 h 16459"/>
                <a:gd name="connsiteX4" fmla="*/ 11830 w 16022"/>
                <a:gd name="connsiteY4" fmla="*/ 0 h 16459"/>
                <a:gd name="connsiteX5" fmla="*/ 5013 w 16022"/>
                <a:gd name="connsiteY5" fmla="*/ 3667 h 1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2" h="16459">
                  <a:moveTo>
                    <a:pt x="5013" y="3667"/>
                  </a:moveTo>
                  <a:cubicBezTo>
                    <a:pt x="2089" y="5961"/>
                    <a:pt x="-722" y="9450"/>
                    <a:pt x="167" y="12374"/>
                  </a:cubicBezTo>
                  <a:cubicBezTo>
                    <a:pt x="555" y="13683"/>
                    <a:pt x="1750" y="14926"/>
                    <a:pt x="3365" y="15702"/>
                  </a:cubicBezTo>
                  <a:cubicBezTo>
                    <a:pt x="7452" y="17657"/>
                    <a:pt x="13219" y="15670"/>
                    <a:pt x="15223" y="11599"/>
                  </a:cubicBezTo>
                  <a:cubicBezTo>
                    <a:pt x="17129" y="7722"/>
                    <a:pt x="15481" y="2294"/>
                    <a:pt x="11830" y="0"/>
                  </a:cubicBezTo>
                  <a:cubicBezTo>
                    <a:pt x="9666" y="145"/>
                    <a:pt x="7533" y="1680"/>
                    <a:pt x="5013" y="366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5" name="Free-form: Shape 384">
              <a:extLst>
                <a:ext uri="{FF2B5EF4-FFF2-40B4-BE49-F238E27FC236}">
                  <a16:creationId xmlns:a16="http://schemas.microsoft.com/office/drawing/2014/main" id="{B28B32C2-5AF6-979F-E725-C4EA9F4B8F2D}"/>
                </a:ext>
              </a:extLst>
            </p:cNvPr>
            <p:cNvSpPr/>
            <p:nvPr/>
          </p:nvSpPr>
          <p:spPr>
            <a:xfrm>
              <a:off x="6815817" y="4659107"/>
              <a:ext cx="18581" cy="43173"/>
            </a:xfrm>
            <a:custGeom>
              <a:avLst/>
              <a:gdLst>
                <a:gd name="connsiteX0" fmla="*/ 16329 w 18581"/>
                <a:gd name="connsiteY0" fmla="*/ 953 h 43173"/>
                <a:gd name="connsiteX1" fmla="*/ 15553 w 18581"/>
                <a:gd name="connsiteY1" fmla="*/ 646 h 43173"/>
                <a:gd name="connsiteX2" fmla="*/ 12985 w 18581"/>
                <a:gd name="connsiteY2" fmla="*/ 0 h 43173"/>
                <a:gd name="connsiteX3" fmla="*/ 7169 w 18581"/>
                <a:gd name="connsiteY3" fmla="*/ 2407 h 43173"/>
                <a:gd name="connsiteX4" fmla="*/ 1112 w 18581"/>
                <a:gd name="connsiteY4" fmla="*/ 12164 h 43173"/>
                <a:gd name="connsiteX5" fmla="*/ 13 w 18581"/>
                <a:gd name="connsiteY5" fmla="*/ 15944 h 43173"/>
                <a:gd name="connsiteX6" fmla="*/ 1435 w 18581"/>
                <a:gd name="connsiteY6" fmla="*/ 18917 h 43173"/>
                <a:gd name="connsiteX7" fmla="*/ 3147 w 18581"/>
                <a:gd name="connsiteY7" fmla="*/ 22034 h 43173"/>
                <a:gd name="connsiteX8" fmla="*/ 3147 w 18581"/>
                <a:gd name="connsiteY8" fmla="*/ 33245 h 43173"/>
                <a:gd name="connsiteX9" fmla="*/ 2727 w 18581"/>
                <a:gd name="connsiteY9" fmla="*/ 35329 h 43173"/>
                <a:gd name="connsiteX10" fmla="*/ 4472 w 18581"/>
                <a:gd name="connsiteY10" fmla="*/ 42857 h 43173"/>
                <a:gd name="connsiteX11" fmla="*/ 12694 w 18581"/>
                <a:gd name="connsiteY11" fmla="*/ 38673 h 43173"/>
                <a:gd name="connsiteX12" fmla="*/ 16684 w 18581"/>
                <a:gd name="connsiteY12" fmla="*/ 29562 h 43173"/>
                <a:gd name="connsiteX13" fmla="*/ 15828 w 18581"/>
                <a:gd name="connsiteY13" fmla="*/ 26913 h 43173"/>
                <a:gd name="connsiteX14" fmla="*/ 14536 w 18581"/>
                <a:gd name="connsiteY14" fmla="*/ 21227 h 43173"/>
                <a:gd name="connsiteX15" fmla="*/ 16183 w 18581"/>
                <a:gd name="connsiteY15" fmla="*/ 15750 h 43173"/>
                <a:gd name="connsiteX16" fmla="*/ 17007 w 18581"/>
                <a:gd name="connsiteY16" fmla="*/ 13828 h 43173"/>
                <a:gd name="connsiteX17" fmla="*/ 17896 w 18581"/>
                <a:gd name="connsiteY17" fmla="*/ 2116 h 43173"/>
                <a:gd name="connsiteX18" fmla="*/ 16329 w 18581"/>
                <a:gd name="connsiteY18" fmla="*/ 953 h 43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581" h="43173">
                  <a:moveTo>
                    <a:pt x="16329" y="953"/>
                  </a:moveTo>
                  <a:cubicBezTo>
                    <a:pt x="16054" y="889"/>
                    <a:pt x="15796" y="792"/>
                    <a:pt x="15553" y="646"/>
                  </a:cubicBezTo>
                  <a:cubicBezTo>
                    <a:pt x="14762" y="194"/>
                    <a:pt x="13889" y="0"/>
                    <a:pt x="12985" y="0"/>
                  </a:cubicBezTo>
                  <a:cubicBezTo>
                    <a:pt x="10917" y="0"/>
                    <a:pt x="8704" y="1018"/>
                    <a:pt x="7169" y="2407"/>
                  </a:cubicBezTo>
                  <a:cubicBezTo>
                    <a:pt x="4407" y="4879"/>
                    <a:pt x="2727" y="8578"/>
                    <a:pt x="1112" y="12164"/>
                  </a:cubicBezTo>
                  <a:cubicBezTo>
                    <a:pt x="546" y="13424"/>
                    <a:pt x="-100" y="14862"/>
                    <a:pt x="13" y="15944"/>
                  </a:cubicBezTo>
                  <a:cubicBezTo>
                    <a:pt x="110" y="16817"/>
                    <a:pt x="724" y="17786"/>
                    <a:pt x="1435" y="18917"/>
                  </a:cubicBezTo>
                  <a:cubicBezTo>
                    <a:pt x="2016" y="19821"/>
                    <a:pt x="2662" y="20855"/>
                    <a:pt x="3147" y="22034"/>
                  </a:cubicBezTo>
                  <a:cubicBezTo>
                    <a:pt x="4682" y="25847"/>
                    <a:pt x="3874" y="29788"/>
                    <a:pt x="3147" y="33245"/>
                  </a:cubicBezTo>
                  <a:cubicBezTo>
                    <a:pt x="3001" y="33940"/>
                    <a:pt x="2856" y="34635"/>
                    <a:pt x="2727" y="35329"/>
                  </a:cubicBezTo>
                  <a:cubicBezTo>
                    <a:pt x="2194" y="38334"/>
                    <a:pt x="2517" y="41823"/>
                    <a:pt x="4472" y="42857"/>
                  </a:cubicBezTo>
                  <a:cubicBezTo>
                    <a:pt x="6846" y="44117"/>
                    <a:pt x="10384" y="41387"/>
                    <a:pt x="12694" y="38673"/>
                  </a:cubicBezTo>
                  <a:cubicBezTo>
                    <a:pt x="15844" y="34942"/>
                    <a:pt x="17120" y="32050"/>
                    <a:pt x="16684" y="29562"/>
                  </a:cubicBezTo>
                  <a:cubicBezTo>
                    <a:pt x="16539" y="28755"/>
                    <a:pt x="16200" y="27866"/>
                    <a:pt x="15828" y="26913"/>
                  </a:cubicBezTo>
                  <a:cubicBezTo>
                    <a:pt x="15182" y="25265"/>
                    <a:pt x="14455" y="23407"/>
                    <a:pt x="14536" y="21227"/>
                  </a:cubicBezTo>
                  <a:cubicBezTo>
                    <a:pt x="14616" y="19094"/>
                    <a:pt x="15440" y="17317"/>
                    <a:pt x="16183" y="15750"/>
                  </a:cubicBezTo>
                  <a:cubicBezTo>
                    <a:pt x="16474" y="15120"/>
                    <a:pt x="16781" y="14490"/>
                    <a:pt x="17007" y="13828"/>
                  </a:cubicBezTo>
                  <a:cubicBezTo>
                    <a:pt x="18704" y="8949"/>
                    <a:pt x="19075" y="4232"/>
                    <a:pt x="17896" y="2116"/>
                  </a:cubicBezTo>
                  <a:cubicBezTo>
                    <a:pt x="17540" y="1470"/>
                    <a:pt x="17072" y="1115"/>
                    <a:pt x="16329" y="95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6" name="Free-form: Shape 385">
              <a:extLst>
                <a:ext uri="{FF2B5EF4-FFF2-40B4-BE49-F238E27FC236}">
                  <a16:creationId xmlns:a16="http://schemas.microsoft.com/office/drawing/2014/main" id="{B71980B4-C2B2-6DC5-8549-103247326DAA}"/>
                </a:ext>
              </a:extLst>
            </p:cNvPr>
            <p:cNvSpPr/>
            <p:nvPr/>
          </p:nvSpPr>
          <p:spPr>
            <a:xfrm>
              <a:off x="5074116" y="4932129"/>
              <a:ext cx="40193" cy="46149"/>
            </a:xfrm>
            <a:custGeom>
              <a:avLst/>
              <a:gdLst>
                <a:gd name="connsiteX0" fmla="*/ 3005 w 40193"/>
                <a:gd name="connsiteY0" fmla="*/ 45748 h 46149"/>
                <a:gd name="connsiteX1" fmla="*/ 6494 w 40193"/>
                <a:gd name="connsiteY1" fmla="*/ 45878 h 46149"/>
                <a:gd name="connsiteX2" fmla="*/ 12729 w 40193"/>
                <a:gd name="connsiteY2" fmla="*/ 40369 h 46149"/>
                <a:gd name="connsiteX3" fmla="*/ 36266 w 40193"/>
                <a:gd name="connsiteY3" fmla="*/ 11663 h 46149"/>
                <a:gd name="connsiteX4" fmla="*/ 39707 w 40193"/>
                <a:gd name="connsiteY4" fmla="*/ 2132 h 46149"/>
                <a:gd name="connsiteX5" fmla="*/ 35103 w 40193"/>
                <a:gd name="connsiteY5" fmla="*/ 0 h 46149"/>
                <a:gd name="connsiteX6" fmla="*/ 33197 w 40193"/>
                <a:gd name="connsiteY6" fmla="*/ 743 h 46149"/>
                <a:gd name="connsiteX7" fmla="*/ 16138 w 40193"/>
                <a:gd name="connsiteY7" fmla="*/ 9192 h 46149"/>
                <a:gd name="connsiteX8" fmla="*/ 15605 w 40193"/>
                <a:gd name="connsiteY8" fmla="*/ 9192 h 46149"/>
                <a:gd name="connsiteX9" fmla="*/ 10064 w 40193"/>
                <a:gd name="connsiteY9" fmla="*/ 8804 h 46149"/>
                <a:gd name="connsiteX10" fmla="*/ 4119 w 40193"/>
                <a:gd name="connsiteY10" fmla="*/ 9838 h 46149"/>
                <a:gd name="connsiteX11" fmla="*/ 242 w 40193"/>
                <a:gd name="connsiteY11" fmla="*/ 16622 h 46149"/>
                <a:gd name="connsiteX12" fmla="*/ 3812 w 40193"/>
                <a:gd name="connsiteY12" fmla="*/ 20419 h 46149"/>
                <a:gd name="connsiteX13" fmla="*/ 9450 w 40193"/>
                <a:gd name="connsiteY13" fmla="*/ 28302 h 46149"/>
                <a:gd name="connsiteX14" fmla="*/ 4846 w 40193"/>
                <a:gd name="connsiteY14" fmla="*/ 38818 h 46149"/>
                <a:gd name="connsiteX15" fmla="*/ 1858 w 40193"/>
                <a:gd name="connsiteY15" fmla="*/ 44602 h 46149"/>
                <a:gd name="connsiteX16" fmla="*/ 3021 w 40193"/>
                <a:gd name="connsiteY16" fmla="*/ 45748 h 46149"/>
                <a:gd name="connsiteX17" fmla="*/ 3005 w 40193"/>
                <a:gd name="connsiteY17" fmla="*/ 45748 h 4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193" h="46149">
                  <a:moveTo>
                    <a:pt x="3005" y="45748"/>
                  </a:moveTo>
                  <a:cubicBezTo>
                    <a:pt x="4022" y="46233"/>
                    <a:pt x="5396" y="46282"/>
                    <a:pt x="6494" y="45878"/>
                  </a:cubicBezTo>
                  <a:cubicBezTo>
                    <a:pt x="8949" y="44973"/>
                    <a:pt x="10953" y="42518"/>
                    <a:pt x="12729" y="40369"/>
                  </a:cubicBezTo>
                  <a:lnTo>
                    <a:pt x="36266" y="11663"/>
                  </a:lnTo>
                  <a:cubicBezTo>
                    <a:pt x="38705" y="8691"/>
                    <a:pt x="41290" y="4620"/>
                    <a:pt x="39707" y="2132"/>
                  </a:cubicBezTo>
                  <a:cubicBezTo>
                    <a:pt x="38948" y="937"/>
                    <a:pt x="36880" y="0"/>
                    <a:pt x="35103" y="0"/>
                  </a:cubicBezTo>
                  <a:cubicBezTo>
                    <a:pt x="34667" y="0"/>
                    <a:pt x="33585" y="80"/>
                    <a:pt x="33197" y="743"/>
                  </a:cubicBezTo>
                  <a:cubicBezTo>
                    <a:pt x="31016" y="4329"/>
                    <a:pt x="25394" y="8432"/>
                    <a:pt x="16138" y="9192"/>
                  </a:cubicBezTo>
                  <a:cubicBezTo>
                    <a:pt x="15960" y="9208"/>
                    <a:pt x="15783" y="9192"/>
                    <a:pt x="15605" y="9192"/>
                  </a:cubicBezTo>
                  <a:cubicBezTo>
                    <a:pt x="13828" y="8998"/>
                    <a:pt x="11922" y="8804"/>
                    <a:pt x="10064" y="8804"/>
                  </a:cubicBezTo>
                  <a:cubicBezTo>
                    <a:pt x="7980" y="8804"/>
                    <a:pt x="5929" y="9046"/>
                    <a:pt x="4119" y="9838"/>
                  </a:cubicBezTo>
                  <a:cubicBezTo>
                    <a:pt x="1502" y="10985"/>
                    <a:pt x="-759" y="14199"/>
                    <a:pt x="242" y="16622"/>
                  </a:cubicBezTo>
                  <a:cubicBezTo>
                    <a:pt x="808" y="17979"/>
                    <a:pt x="2262" y="19159"/>
                    <a:pt x="3812" y="20419"/>
                  </a:cubicBezTo>
                  <a:cubicBezTo>
                    <a:pt x="6219" y="22357"/>
                    <a:pt x="8933" y="24554"/>
                    <a:pt x="9450" y="28302"/>
                  </a:cubicBezTo>
                  <a:cubicBezTo>
                    <a:pt x="10048" y="32648"/>
                    <a:pt x="7172" y="36072"/>
                    <a:pt x="4846" y="38818"/>
                  </a:cubicBezTo>
                  <a:cubicBezTo>
                    <a:pt x="2649" y="41435"/>
                    <a:pt x="1341" y="43132"/>
                    <a:pt x="1858" y="44602"/>
                  </a:cubicBezTo>
                  <a:cubicBezTo>
                    <a:pt x="2019" y="45086"/>
                    <a:pt x="2423" y="45474"/>
                    <a:pt x="3021" y="45748"/>
                  </a:cubicBezTo>
                  <a:lnTo>
                    <a:pt x="3005" y="4574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7" name="Free-form: Shape 386">
              <a:extLst>
                <a:ext uri="{FF2B5EF4-FFF2-40B4-BE49-F238E27FC236}">
                  <a16:creationId xmlns:a16="http://schemas.microsoft.com/office/drawing/2014/main" id="{3A148AFF-0F84-713F-88C6-777EA2579750}"/>
                </a:ext>
              </a:extLst>
            </p:cNvPr>
            <p:cNvSpPr/>
            <p:nvPr/>
          </p:nvSpPr>
          <p:spPr>
            <a:xfrm>
              <a:off x="5597190" y="2659038"/>
              <a:ext cx="6051" cy="18916"/>
            </a:xfrm>
            <a:custGeom>
              <a:avLst/>
              <a:gdLst>
                <a:gd name="connsiteX0" fmla="*/ 355 w 6051"/>
                <a:gd name="connsiteY0" fmla="*/ 18739 h 18916"/>
                <a:gd name="connsiteX1" fmla="*/ 856 w 6051"/>
                <a:gd name="connsiteY1" fmla="*/ 18916 h 18916"/>
                <a:gd name="connsiteX2" fmla="*/ 3828 w 6051"/>
                <a:gd name="connsiteY2" fmla="*/ 17269 h 18916"/>
                <a:gd name="connsiteX3" fmla="*/ 6041 w 6051"/>
                <a:gd name="connsiteY3" fmla="*/ 7027 h 18916"/>
                <a:gd name="connsiteX4" fmla="*/ 4733 w 6051"/>
                <a:gd name="connsiteY4" fmla="*/ 1147 h 18916"/>
                <a:gd name="connsiteX5" fmla="*/ 2827 w 6051"/>
                <a:gd name="connsiteY5" fmla="*/ 16 h 18916"/>
                <a:gd name="connsiteX6" fmla="*/ 2003 w 6051"/>
                <a:gd name="connsiteY6" fmla="*/ 178 h 18916"/>
                <a:gd name="connsiteX7" fmla="*/ 953 w 6051"/>
                <a:gd name="connsiteY7" fmla="*/ 2003 h 18916"/>
                <a:gd name="connsiteX8" fmla="*/ 16 w 6051"/>
                <a:gd name="connsiteY8" fmla="*/ 17253 h 18916"/>
                <a:gd name="connsiteX9" fmla="*/ 371 w 6051"/>
                <a:gd name="connsiteY9" fmla="*/ 18755 h 18916"/>
                <a:gd name="connsiteX10" fmla="*/ 355 w 6051"/>
                <a:gd name="connsiteY10" fmla="*/ 18739 h 1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51" h="18916">
                  <a:moveTo>
                    <a:pt x="355" y="18739"/>
                  </a:moveTo>
                  <a:cubicBezTo>
                    <a:pt x="355" y="18739"/>
                    <a:pt x="484" y="18916"/>
                    <a:pt x="856" y="18916"/>
                  </a:cubicBezTo>
                  <a:cubicBezTo>
                    <a:pt x="1825" y="18916"/>
                    <a:pt x="3150" y="18173"/>
                    <a:pt x="3828" y="17269"/>
                  </a:cubicBezTo>
                  <a:cubicBezTo>
                    <a:pt x="5912" y="14426"/>
                    <a:pt x="6106" y="10290"/>
                    <a:pt x="6041" y="7027"/>
                  </a:cubicBezTo>
                  <a:cubicBezTo>
                    <a:pt x="5993" y="4830"/>
                    <a:pt x="5799" y="2601"/>
                    <a:pt x="4733" y="1147"/>
                  </a:cubicBezTo>
                  <a:cubicBezTo>
                    <a:pt x="4297" y="565"/>
                    <a:pt x="3537" y="113"/>
                    <a:pt x="2827" y="16"/>
                  </a:cubicBezTo>
                  <a:cubicBezTo>
                    <a:pt x="2568" y="-16"/>
                    <a:pt x="2229" y="-16"/>
                    <a:pt x="2003" y="178"/>
                  </a:cubicBezTo>
                  <a:cubicBezTo>
                    <a:pt x="1599" y="501"/>
                    <a:pt x="1227" y="1373"/>
                    <a:pt x="953" y="2003"/>
                  </a:cubicBezTo>
                  <a:cubicBezTo>
                    <a:pt x="274" y="3667"/>
                    <a:pt x="-81" y="13182"/>
                    <a:pt x="16" y="17253"/>
                  </a:cubicBezTo>
                  <a:cubicBezTo>
                    <a:pt x="48" y="17624"/>
                    <a:pt x="145" y="18448"/>
                    <a:pt x="371" y="18755"/>
                  </a:cubicBezTo>
                  <a:lnTo>
                    <a:pt x="355" y="1873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8" name="Free-form: Shape 387">
              <a:extLst>
                <a:ext uri="{FF2B5EF4-FFF2-40B4-BE49-F238E27FC236}">
                  <a16:creationId xmlns:a16="http://schemas.microsoft.com/office/drawing/2014/main" id="{5D4F95ED-2D86-C063-9E06-4DF5972182BB}"/>
                </a:ext>
              </a:extLst>
            </p:cNvPr>
            <p:cNvSpPr/>
            <p:nvPr/>
          </p:nvSpPr>
          <p:spPr>
            <a:xfrm>
              <a:off x="6996488" y="4603246"/>
              <a:ext cx="48263" cy="53048"/>
            </a:xfrm>
            <a:custGeom>
              <a:avLst/>
              <a:gdLst>
                <a:gd name="connsiteX0" fmla="*/ 44225 w 48263"/>
                <a:gd name="connsiteY0" fmla="*/ 6639 h 53048"/>
                <a:gd name="connsiteX1" fmla="*/ 42609 w 48263"/>
                <a:gd name="connsiteY1" fmla="*/ 4459 h 53048"/>
                <a:gd name="connsiteX2" fmla="*/ 34758 w 48263"/>
                <a:gd name="connsiteY2" fmla="*/ 0 h 53048"/>
                <a:gd name="connsiteX3" fmla="*/ 34274 w 48263"/>
                <a:gd name="connsiteY3" fmla="*/ 0 h 53048"/>
                <a:gd name="connsiteX4" fmla="*/ 24630 w 48263"/>
                <a:gd name="connsiteY4" fmla="*/ 5509 h 53048"/>
                <a:gd name="connsiteX5" fmla="*/ 16908 w 48263"/>
                <a:gd name="connsiteY5" fmla="*/ 14652 h 53048"/>
                <a:gd name="connsiteX6" fmla="*/ 15179 w 48263"/>
                <a:gd name="connsiteY6" fmla="*/ 21340 h 53048"/>
                <a:gd name="connsiteX7" fmla="*/ 9138 w 48263"/>
                <a:gd name="connsiteY7" fmla="*/ 34360 h 53048"/>
                <a:gd name="connsiteX8" fmla="*/ 4711 w 48263"/>
                <a:gd name="connsiteY8" fmla="*/ 36848 h 53048"/>
                <a:gd name="connsiteX9" fmla="*/ 915 w 48263"/>
                <a:gd name="connsiteY9" fmla="*/ 39174 h 53048"/>
                <a:gd name="connsiteX10" fmla="*/ 1707 w 48263"/>
                <a:gd name="connsiteY10" fmla="*/ 46427 h 53048"/>
                <a:gd name="connsiteX11" fmla="*/ 10705 w 48263"/>
                <a:gd name="connsiteY11" fmla="*/ 51112 h 53048"/>
                <a:gd name="connsiteX12" fmla="*/ 23466 w 48263"/>
                <a:gd name="connsiteY12" fmla="*/ 53018 h 53048"/>
                <a:gd name="connsiteX13" fmla="*/ 31269 w 48263"/>
                <a:gd name="connsiteY13" fmla="*/ 51742 h 53048"/>
                <a:gd name="connsiteX14" fmla="*/ 35954 w 48263"/>
                <a:gd name="connsiteY14" fmla="*/ 43261 h 53048"/>
                <a:gd name="connsiteX15" fmla="*/ 36018 w 48263"/>
                <a:gd name="connsiteY15" fmla="*/ 34990 h 53048"/>
                <a:gd name="connsiteX16" fmla="*/ 35857 w 48263"/>
                <a:gd name="connsiteY16" fmla="*/ 31065 h 53048"/>
                <a:gd name="connsiteX17" fmla="*/ 42464 w 48263"/>
                <a:gd name="connsiteY17" fmla="*/ 20322 h 53048"/>
                <a:gd name="connsiteX18" fmla="*/ 48069 w 48263"/>
                <a:gd name="connsiteY18" fmla="*/ 13311 h 53048"/>
                <a:gd name="connsiteX19" fmla="*/ 44209 w 48263"/>
                <a:gd name="connsiteY19" fmla="*/ 6639 h 53048"/>
                <a:gd name="connsiteX20" fmla="*/ 44225 w 48263"/>
                <a:gd name="connsiteY20" fmla="*/ 6639 h 5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263" h="53048">
                  <a:moveTo>
                    <a:pt x="44225" y="6639"/>
                  </a:moveTo>
                  <a:cubicBezTo>
                    <a:pt x="43708" y="5945"/>
                    <a:pt x="43158" y="5234"/>
                    <a:pt x="42609" y="4459"/>
                  </a:cubicBezTo>
                  <a:cubicBezTo>
                    <a:pt x="40655" y="1712"/>
                    <a:pt x="37618" y="0"/>
                    <a:pt x="34758" y="0"/>
                  </a:cubicBezTo>
                  <a:cubicBezTo>
                    <a:pt x="34597" y="0"/>
                    <a:pt x="34435" y="0"/>
                    <a:pt x="34274" y="0"/>
                  </a:cubicBezTo>
                  <a:cubicBezTo>
                    <a:pt x="30849" y="242"/>
                    <a:pt x="27763" y="2746"/>
                    <a:pt x="24630" y="5509"/>
                  </a:cubicBezTo>
                  <a:cubicBezTo>
                    <a:pt x="21269" y="8481"/>
                    <a:pt x="18378" y="11211"/>
                    <a:pt x="16908" y="14652"/>
                  </a:cubicBezTo>
                  <a:cubicBezTo>
                    <a:pt x="16068" y="16623"/>
                    <a:pt x="15632" y="18917"/>
                    <a:pt x="15179" y="21340"/>
                  </a:cubicBezTo>
                  <a:cubicBezTo>
                    <a:pt x="14323" y="25895"/>
                    <a:pt x="13354" y="31048"/>
                    <a:pt x="9138" y="34360"/>
                  </a:cubicBezTo>
                  <a:cubicBezTo>
                    <a:pt x="7716" y="35475"/>
                    <a:pt x="6117" y="36202"/>
                    <a:pt x="4711" y="36848"/>
                  </a:cubicBezTo>
                  <a:cubicBezTo>
                    <a:pt x="3128" y="37575"/>
                    <a:pt x="1755" y="38189"/>
                    <a:pt x="915" y="39174"/>
                  </a:cubicBezTo>
                  <a:cubicBezTo>
                    <a:pt x="-716" y="41080"/>
                    <a:pt x="10" y="44456"/>
                    <a:pt x="1707" y="46427"/>
                  </a:cubicBezTo>
                  <a:cubicBezTo>
                    <a:pt x="3968" y="49060"/>
                    <a:pt x="7716" y="50320"/>
                    <a:pt x="10705" y="51112"/>
                  </a:cubicBezTo>
                  <a:cubicBezTo>
                    <a:pt x="14856" y="52210"/>
                    <a:pt x="19153" y="52857"/>
                    <a:pt x="23466" y="53018"/>
                  </a:cubicBezTo>
                  <a:cubicBezTo>
                    <a:pt x="26067" y="53115"/>
                    <a:pt x="29040" y="53050"/>
                    <a:pt x="31269" y="51742"/>
                  </a:cubicBezTo>
                  <a:cubicBezTo>
                    <a:pt x="34758" y="49690"/>
                    <a:pt x="35695" y="45135"/>
                    <a:pt x="35954" y="43261"/>
                  </a:cubicBezTo>
                  <a:cubicBezTo>
                    <a:pt x="36309" y="40612"/>
                    <a:pt x="36164" y="37882"/>
                    <a:pt x="36018" y="34990"/>
                  </a:cubicBezTo>
                  <a:cubicBezTo>
                    <a:pt x="35954" y="33681"/>
                    <a:pt x="35873" y="32373"/>
                    <a:pt x="35857" y="31065"/>
                  </a:cubicBezTo>
                  <a:cubicBezTo>
                    <a:pt x="35776" y="26089"/>
                    <a:pt x="37779" y="20952"/>
                    <a:pt x="42464" y="20322"/>
                  </a:cubicBezTo>
                  <a:cubicBezTo>
                    <a:pt x="44257" y="19498"/>
                    <a:pt x="49313" y="16817"/>
                    <a:pt x="48069" y="13311"/>
                  </a:cubicBezTo>
                  <a:cubicBezTo>
                    <a:pt x="47294" y="10743"/>
                    <a:pt x="45937" y="8933"/>
                    <a:pt x="44209" y="6639"/>
                  </a:cubicBezTo>
                  <a:lnTo>
                    <a:pt x="44225" y="663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9" name="Free-form: Shape 388">
              <a:extLst>
                <a:ext uri="{FF2B5EF4-FFF2-40B4-BE49-F238E27FC236}">
                  <a16:creationId xmlns:a16="http://schemas.microsoft.com/office/drawing/2014/main" id="{C4C6A165-7BE5-A100-2549-1C20E5204ED4}"/>
                </a:ext>
              </a:extLst>
            </p:cNvPr>
            <p:cNvSpPr/>
            <p:nvPr/>
          </p:nvSpPr>
          <p:spPr>
            <a:xfrm>
              <a:off x="5159784" y="3455764"/>
              <a:ext cx="21450" cy="9476"/>
            </a:xfrm>
            <a:custGeom>
              <a:avLst/>
              <a:gdLst>
                <a:gd name="connsiteX0" fmla="*/ 21450 w 21450"/>
                <a:gd name="connsiteY0" fmla="*/ 4992 h 9476"/>
                <a:gd name="connsiteX1" fmla="*/ 14084 w 21450"/>
                <a:gd name="connsiteY1" fmla="*/ 2019 h 9476"/>
                <a:gd name="connsiteX2" fmla="*/ 13696 w 21450"/>
                <a:gd name="connsiteY2" fmla="*/ 1906 h 9476"/>
                <a:gd name="connsiteX3" fmla="*/ 5813 w 21450"/>
                <a:gd name="connsiteY3" fmla="*/ 0 h 9476"/>
                <a:gd name="connsiteX4" fmla="*/ 5070 w 21450"/>
                <a:gd name="connsiteY4" fmla="*/ 32 h 9476"/>
                <a:gd name="connsiteX5" fmla="*/ 78 w 21450"/>
                <a:gd name="connsiteY5" fmla="*/ 3409 h 9476"/>
                <a:gd name="connsiteX6" fmla="*/ 4198 w 21450"/>
                <a:gd name="connsiteY6" fmla="*/ 8917 h 9476"/>
                <a:gd name="connsiteX7" fmla="*/ 14472 w 21450"/>
                <a:gd name="connsiteY7" fmla="*/ 8739 h 9476"/>
                <a:gd name="connsiteX8" fmla="*/ 21450 w 21450"/>
                <a:gd name="connsiteY8" fmla="*/ 4992 h 9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50" h="9476">
                  <a:moveTo>
                    <a:pt x="21450" y="4992"/>
                  </a:moveTo>
                  <a:cubicBezTo>
                    <a:pt x="20449" y="4071"/>
                    <a:pt x="16830" y="2585"/>
                    <a:pt x="14084" y="2019"/>
                  </a:cubicBezTo>
                  <a:cubicBezTo>
                    <a:pt x="13955" y="1987"/>
                    <a:pt x="13826" y="1955"/>
                    <a:pt x="13696" y="1906"/>
                  </a:cubicBezTo>
                  <a:cubicBezTo>
                    <a:pt x="11079" y="969"/>
                    <a:pt x="8398" y="0"/>
                    <a:pt x="5813" y="0"/>
                  </a:cubicBezTo>
                  <a:cubicBezTo>
                    <a:pt x="5571" y="0"/>
                    <a:pt x="5328" y="0"/>
                    <a:pt x="5070" y="32"/>
                  </a:cubicBezTo>
                  <a:cubicBezTo>
                    <a:pt x="3002" y="194"/>
                    <a:pt x="547" y="1422"/>
                    <a:pt x="78" y="3409"/>
                  </a:cubicBezTo>
                  <a:cubicBezTo>
                    <a:pt x="-455" y="5670"/>
                    <a:pt x="1823" y="8126"/>
                    <a:pt x="4198" y="8917"/>
                  </a:cubicBezTo>
                  <a:cubicBezTo>
                    <a:pt x="7332" y="9967"/>
                    <a:pt x="11128" y="9321"/>
                    <a:pt x="14472" y="8739"/>
                  </a:cubicBezTo>
                  <a:cubicBezTo>
                    <a:pt x="17735" y="8174"/>
                    <a:pt x="21176" y="6785"/>
                    <a:pt x="21450" y="499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90" name="Free-form: Shape 389">
              <a:extLst>
                <a:ext uri="{FF2B5EF4-FFF2-40B4-BE49-F238E27FC236}">
                  <a16:creationId xmlns:a16="http://schemas.microsoft.com/office/drawing/2014/main" id="{D6849BA5-AFD7-7E4A-8D45-04FD9232146B}"/>
                </a:ext>
              </a:extLst>
            </p:cNvPr>
            <p:cNvSpPr/>
            <p:nvPr/>
          </p:nvSpPr>
          <p:spPr>
            <a:xfrm>
              <a:off x="5489728" y="3736653"/>
              <a:ext cx="18504" cy="23392"/>
            </a:xfrm>
            <a:custGeom>
              <a:avLst/>
              <a:gdLst>
                <a:gd name="connsiteX0" fmla="*/ 7903 w 18504"/>
                <a:gd name="connsiteY0" fmla="*/ 23391 h 23392"/>
                <a:gd name="connsiteX1" fmla="*/ 14671 w 18504"/>
                <a:gd name="connsiteY1" fmla="*/ 20500 h 23392"/>
                <a:gd name="connsiteX2" fmla="*/ 18468 w 18504"/>
                <a:gd name="connsiteY2" fmla="*/ 12229 h 23392"/>
                <a:gd name="connsiteX3" fmla="*/ 16642 w 18504"/>
                <a:gd name="connsiteY3" fmla="*/ 9741 h 23392"/>
                <a:gd name="connsiteX4" fmla="*/ 15528 w 18504"/>
                <a:gd name="connsiteY4" fmla="*/ 8271 h 23392"/>
                <a:gd name="connsiteX5" fmla="*/ 9841 w 18504"/>
                <a:gd name="connsiteY5" fmla="*/ 856 h 23392"/>
                <a:gd name="connsiteX6" fmla="*/ 6384 w 18504"/>
                <a:gd name="connsiteY6" fmla="*/ 0 h 23392"/>
                <a:gd name="connsiteX7" fmla="*/ 2330 w 18504"/>
                <a:gd name="connsiteY7" fmla="*/ 1502 h 23392"/>
                <a:gd name="connsiteX8" fmla="*/ 52 w 18504"/>
                <a:gd name="connsiteY8" fmla="*/ 9919 h 23392"/>
                <a:gd name="connsiteX9" fmla="*/ 1910 w 18504"/>
                <a:gd name="connsiteY9" fmla="*/ 20516 h 23392"/>
                <a:gd name="connsiteX10" fmla="*/ 7919 w 18504"/>
                <a:gd name="connsiteY10" fmla="*/ 23375 h 23392"/>
                <a:gd name="connsiteX11" fmla="*/ 7903 w 18504"/>
                <a:gd name="connsiteY11" fmla="*/ 23391 h 2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04" h="23392">
                  <a:moveTo>
                    <a:pt x="7903" y="23391"/>
                  </a:moveTo>
                  <a:cubicBezTo>
                    <a:pt x="10649" y="23424"/>
                    <a:pt x="13218" y="22341"/>
                    <a:pt x="14671" y="20500"/>
                  </a:cubicBezTo>
                  <a:cubicBezTo>
                    <a:pt x="18177" y="16041"/>
                    <a:pt x="18662" y="13537"/>
                    <a:pt x="18468" y="12229"/>
                  </a:cubicBezTo>
                  <a:cubicBezTo>
                    <a:pt x="18371" y="11631"/>
                    <a:pt x="18080" y="10743"/>
                    <a:pt x="16642" y="9741"/>
                  </a:cubicBezTo>
                  <a:cubicBezTo>
                    <a:pt x="16125" y="9386"/>
                    <a:pt x="15738" y="8869"/>
                    <a:pt x="15528" y="8271"/>
                  </a:cubicBezTo>
                  <a:cubicBezTo>
                    <a:pt x="14849" y="6268"/>
                    <a:pt x="13201" y="2617"/>
                    <a:pt x="9841" y="856"/>
                  </a:cubicBezTo>
                  <a:cubicBezTo>
                    <a:pt x="8759" y="291"/>
                    <a:pt x="7547" y="0"/>
                    <a:pt x="6384" y="0"/>
                  </a:cubicBezTo>
                  <a:cubicBezTo>
                    <a:pt x="4801" y="0"/>
                    <a:pt x="3315" y="517"/>
                    <a:pt x="2330" y="1502"/>
                  </a:cubicBezTo>
                  <a:cubicBezTo>
                    <a:pt x="440" y="3409"/>
                    <a:pt x="165" y="6850"/>
                    <a:pt x="52" y="9919"/>
                  </a:cubicBezTo>
                  <a:cubicBezTo>
                    <a:pt x="-94" y="13763"/>
                    <a:pt x="-61" y="17754"/>
                    <a:pt x="1910" y="20516"/>
                  </a:cubicBezTo>
                  <a:cubicBezTo>
                    <a:pt x="3154" y="22261"/>
                    <a:pt x="5350" y="23311"/>
                    <a:pt x="7919" y="23375"/>
                  </a:cubicBezTo>
                  <a:lnTo>
                    <a:pt x="7903" y="2339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7" name="Gruppieren 96">
            <a:extLst>
              <a:ext uri="{FF2B5EF4-FFF2-40B4-BE49-F238E27FC236}">
                <a16:creationId xmlns:a16="http://schemas.microsoft.com/office/drawing/2014/main" id="{7B3D020E-40B7-4E6F-23AE-618EF578FED7}"/>
              </a:ext>
            </a:extLst>
          </p:cNvPr>
          <p:cNvGrpSpPr>
            <a:grpSpLocks/>
          </p:cNvGrpSpPr>
          <p:nvPr/>
        </p:nvGrpSpPr>
        <p:grpSpPr>
          <a:xfrm>
            <a:off x="5720226" y="2045258"/>
            <a:ext cx="304976" cy="304976"/>
            <a:chOff x="3476538" y="3554481"/>
            <a:chExt cx="828675" cy="828675"/>
          </a:xfrm>
        </p:grpSpPr>
        <p:sp>
          <p:nvSpPr>
            <p:cNvPr id="18" name="Träne 97">
              <a:extLst>
                <a:ext uri="{FF2B5EF4-FFF2-40B4-BE49-F238E27FC236}">
                  <a16:creationId xmlns:a16="http://schemas.microsoft.com/office/drawing/2014/main" id="{2A27950F-12F4-7011-D84B-CDB9947CD5E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" name="Ellipse 98">
              <a:extLst>
                <a:ext uri="{FF2B5EF4-FFF2-40B4-BE49-F238E27FC236}">
                  <a16:creationId xmlns:a16="http://schemas.microsoft.com/office/drawing/2014/main" id="{82346FCB-2CE2-3ADB-4E35-667137DB403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68" name="Title 1">
            <a:extLst>
              <a:ext uri="{FF2B5EF4-FFF2-40B4-BE49-F238E27FC236}">
                <a16:creationId xmlns:a16="http://schemas.microsoft.com/office/drawing/2014/main" id="{2D48A9A7-4227-45B8-820B-B2A947A0A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69" name="Inhaltsplatzhalter 2">
            <a:extLst>
              <a:ext uri="{FF2B5EF4-FFF2-40B4-BE49-F238E27FC236}">
                <a16:creationId xmlns:a16="http://schemas.microsoft.com/office/drawing/2014/main" id="{89FBF19B-F62F-4A6A-BBDB-F2C4B4BABE7A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243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p: South Korea</dc:title>
  <dc:creator>后梦雪</dc:creator>
  <cp:lastModifiedBy>后梦雪</cp:lastModifiedBy>
  <cp:revision>2</cp:revision>
  <dcterms:created xsi:type="dcterms:W3CDTF">2025-09-04T06:01:17Z</dcterms:created>
  <dcterms:modified xsi:type="dcterms:W3CDTF">2025-09-04T06:13:17Z</dcterms:modified>
</cp:coreProperties>
</file>